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73" r:id="rId3"/>
    <p:sldMasterId id="2147483682" r:id="rId4"/>
    <p:sldMasterId id="2147483699" r:id="rId5"/>
    <p:sldMasterId id="2147483723" r:id="rId6"/>
    <p:sldMasterId id="2147483736" r:id="rId7"/>
  </p:sldMasterIdLst>
  <p:notesMasterIdLst>
    <p:notesMasterId r:id="rId17"/>
  </p:notesMasterIdLst>
  <p:sldIdLst>
    <p:sldId id="271" r:id="rId8"/>
    <p:sldId id="4643" r:id="rId9"/>
    <p:sldId id="798" r:id="rId10"/>
    <p:sldId id="283" r:id="rId11"/>
    <p:sldId id="256" r:id="rId12"/>
    <p:sldId id="259" r:id="rId13"/>
    <p:sldId id="261" r:id="rId14"/>
    <p:sldId id="4640" r:id="rId15"/>
    <p:sldId id="269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695"/>
    <a:srgbClr val="00A8C6"/>
    <a:srgbClr val="9DC3E6"/>
    <a:srgbClr val="B15C6C"/>
    <a:srgbClr val="DC858D"/>
    <a:srgbClr val="080F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792" autoAdjust="0"/>
  </p:normalViewPr>
  <p:slideViewPr>
    <p:cSldViewPr snapToGrid="0">
      <p:cViewPr varScale="1">
        <p:scale>
          <a:sx n="60" d="100"/>
          <a:sy n="60" d="100"/>
        </p:scale>
        <p:origin x="908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ycias ZEMBE" userId="819fe179-392a-4df0-97f5-77f0d5008f0d" providerId="ADAL" clId="{EBFFC6BE-0764-4F8B-B03B-05F87F428DC8}"/>
    <pc:docChg chg="custSel addSld delSld modSld sldOrd">
      <pc:chgData name="Lycias ZEMBE" userId="819fe179-392a-4df0-97f5-77f0d5008f0d" providerId="ADAL" clId="{EBFFC6BE-0764-4F8B-B03B-05F87F428DC8}" dt="2024-08-22T11:38:47.902" v="264" actId="1035"/>
      <pc:docMkLst>
        <pc:docMk/>
      </pc:docMkLst>
      <pc:sldChg chg="addSp delSp modSp add">
        <pc:chgData name="Lycias ZEMBE" userId="819fe179-392a-4df0-97f5-77f0d5008f0d" providerId="ADAL" clId="{EBFFC6BE-0764-4F8B-B03B-05F87F428DC8}" dt="2024-08-22T11:38:31.065" v="235" actId="478"/>
        <pc:sldMkLst>
          <pc:docMk/>
          <pc:sldMk cId="724292535" sldId="256"/>
        </pc:sldMkLst>
        <pc:grpChg chg="add del mod">
          <ac:chgData name="Lycias ZEMBE" userId="819fe179-392a-4df0-97f5-77f0d5008f0d" providerId="ADAL" clId="{EBFFC6BE-0764-4F8B-B03B-05F87F428DC8}" dt="2024-08-22T11:38:31.065" v="235" actId="478"/>
          <ac:grpSpMkLst>
            <pc:docMk/>
            <pc:sldMk cId="724292535" sldId="256"/>
            <ac:grpSpMk id="13" creationId="{A194E784-4000-E278-01FB-80B01681C831}"/>
          </ac:grpSpMkLst>
        </pc:grpChg>
        <pc:picChg chg="mod">
          <ac:chgData name="Lycias ZEMBE" userId="819fe179-392a-4df0-97f5-77f0d5008f0d" providerId="ADAL" clId="{EBFFC6BE-0764-4F8B-B03B-05F87F428DC8}" dt="2024-08-22T11:38:31.065" v="235" actId="478"/>
          <ac:picMkLst>
            <pc:docMk/>
            <pc:sldMk cId="724292535" sldId="256"/>
            <ac:picMk id="3" creationId="{83D18354-47E5-1CFE-4B2B-532FCD23FBF8}"/>
          </ac:picMkLst>
        </pc:picChg>
        <pc:picChg chg="add del mod">
          <ac:chgData name="Lycias ZEMBE" userId="819fe179-392a-4df0-97f5-77f0d5008f0d" providerId="ADAL" clId="{EBFFC6BE-0764-4F8B-B03B-05F87F428DC8}" dt="2024-08-22T11:38:31.065" v="235" actId="478"/>
          <ac:picMkLst>
            <pc:docMk/>
            <pc:sldMk cId="724292535" sldId="256"/>
            <ac:picMk id="1025" creationId="{B2BCBB48-448E-F8B1-8654-92D4472A69AE}"/>
          </ac:picMkLst>
        </pc:picChg>
        <pc:picChg chg="mod">
          <ac:chgData name="Lycias ZEMBE" userId="819fe179-392a-4df0-97f5-77f0d5008f0d" providerId="ADAL" clId="{EBFFC6BE-0764-4F8B-B03B-05F87F428DC8}" dt="2024-08-22T11:38:31.065" v="235" actId="478"/>
          <ac:picMkLst>
            <pc:docMk/>
            <pc:sldMk cId="724292535" sldId="256"/>
            <ac:picMk id="1027" creationId="{FDB80837-5FC2-3BA0-9E24-E004C506F4B9}"/>
          </ac:picMkLst>
        </pc:picChg>
        <pc:picChg chg="del">
          <ac:chgData name="Lycias ZEMBE" userId="819fe179-392a-4df0-97f5-77f0d5008f0d" providerId="ADAL" clId="{EBFFC6BE-0764-4F8B-B03B-05F87F428DC8}" dt="2024-08-22T11:38:05.129" v="229" actId="478"/>
          <ac:picMkLst>
            <pc:docMk/>
            <pc:sldMk cId="724292535" sldId="256"/>
            <ac:picMk id="1028" creationId="{C88E2362-79F5-298C-79B3-33EC615CCF44}"/>
          </ac:picMkLst>
        </pc:picChg>
      </pc:sldChg>
      <pc:sldChg chg="modSp add">
        <pc:chgData name="Lycias ZEMBE" userId="819fe179-392a-4df0-97f5-77f0d5008f0d" providerId="ADAL" clId="{EBFFC6BE-0764-4F8B-B03B-05F87F428DC8}" dt="2024-08-22T11:38:40.302" v="250" actId="1037"/>
        <pc:sldMkLst>
          <pc:docMk/>
          <pc:sldMk cId="2778259218" sldId="259"/>
        </pc:sldMkLst>
        <pc:grpChg chg="mod">
          <ac:chgData name="Lycias ZEMBE" userId="819fe179-392a-4df0-97f5-77f0d5008f0d" providerId="ADAL" clId="{EBFFC6BE-0764-4F8B-B03B-05F87F428DC8}" dt="2024-08-22T11:38:40.302" v="250" actId="1037"/>
          <ac:grpSpMkLst>
            <pc:docMk/>
            <pc:sldMk cId="2778259218" sldId="259"/>
            <ac:grpSpMk id="3" creationId="{3E2FD2B1-D3E1-CC3A-A482-27409A42B02A}"/>
          </ac:grpSpMkLst>
        </pc:grpChg>
        <pc:picChg chg="mod">
          <ac:chgData name="Lycias ZEMBE" userId="819fe179-392a-4df0-97f5-77f0d5008f0d" providerId="ADAL" clId="{EBFFC6BE-0764-4F8B-B03B-05F87F428DC8}" dt="2024-08-22T11:38:40.302" v="250" actId="1037"/>
          <ac:picMkLst>
            <pc:docMk/>
            <pc:sldMk cId="2778259218" sldId="259"/>
            <ac:picMk id="4" creationId="{E1A6006A-1133-5583-F4C4-ABF05F68184B}"/>
          </ac:picMkLst>
        </pc:picChg>
        <pc:picChg chg="mod">
          <ac:chgData name="Lycias ZEMBE" userId="819fe179-392a-4df0-97f5-77f0d5008f0d" providerId="ADAL" clId="{EBFFC6BE-0764-4F8B-B03B-05F87F428DC8}" dt="2024-08-22T11:38:40.302" v="250" actId="1037"/>
          <ac:picMkLst>
            <pc:docMk/>
            <pc:sldMk cId="2778259218" sldId="259"/>
            <ac:picMk id="7" creationId="{B5C8A103-3EDD-CDF6-7E11-6775C5980E14}"/>
          </ac:picMkLst>
        </pc:picChg>
        <pc:picChg chg="mod">
          <ac:chgData name="Lycias ZEMBE" userId="819fe179-392a-4df0-97f5-77f0d5008f0d" providerId="ADAL" clId="{EBFFC6BE-0764-4F8B-B03B-05F87F428DC8}" dt="2024-08-22T11:38:40.302" v="250" actId="1037"/>
          <ac:picMkLst>
            <pc:docMk/>
            <pc:sldMk cId="2778259218" sldId="259"/>
            <ac:picMk id="8" creationId="{B7C8B14B-8CC3-82E4-9CD5-1B1ADC875CBB}"/>
          </ac:picMkLst>
        </pc:picChg>
        <pc:picChg chg="mod">
          <ac:chgData name="Lycias ZEMBE" userId="819fe179-392a-4df0-97f5-77f0d5008f0d" providerId="ADAL" clId="{EBFFC6BE-0764-4F8B-B03B-05F87F428DC8}" dt="2024-08-22T11:38:40.302" v="250" actId="1037"/>
          <ac:picMkLst>
            <pc:docMk/>
            <pc:sldMk cId="2778259218" sldId="259"/>
            <ac:picMk id="9" creationId="{8A5877FA-6116-A52C-BE5C-F8427D4BA6D9}"/>
          </ac:picMkLst>
        </pc:picChg>
      </pc:sldChg>
      <pc:sldChg chg="modSp add">
        <pc:chgData name="Lycias ZEMBE" userId="819fe179-392a-4df0-97f5-77f0d5008f0d" providerId="ADAL" clId="{EBFFC6BE-0764-4F8B-B03B-05F87F428DC8}" dt="2024-08-22T11:38:47.902" v="264" actId="1035"/>
        <pc:sldMkLst>
          <pc:docMk/>
          <pc:sldMk cId="1378303612" sldId="261"/>
        </pc:sldMkLst>
        <pc:grpChg chg="mod">
          <ac:chgData name="Lycias ZEMBE" userId="819fe179-392a-4df0-97f5-77f0d5008f0d" providerId="ADAL" clId="{EBFFC6BE-0764-4F8B-B03B-05F87F428DC8}" dt="2024-08-22T11:38:47.902" v="264" actId="1035"/>
          <ac:grpSpMkLst>
            <pc:docMk/>
            <pc:sldMk cId="1378303612" sldId="261"/>
            <ac:grpSpMk id="6" creationId="{C1508F1A-5637-E6E5-E608-A9D062AAD966}"/>
          </ac:grpSpMkLst>
        </pc:grpChg>
        <pc:picChg chg="mod">
          <ac:chgData name="Lycias ZEMBE" userId="819fe179-392a-4df0-97f5-77f0d5008f0d" providerId="ADAL" clId="{EBFFC6BE-0764-4F8B-B03B-05F87F428DC8}" dt="2024-08-22T11:38:47.902" v="264" actId="1035"/>
          <ac:picMkLst>
            <pc:docMk/>
            <pc:sldMk cId="1378303612" sldId="261"/>
            <ac:picMk id="7" creationId="{A761304D-373C-0FF3-80FC-6CF6520D5A86}"/>
          </ac:picMkLst>
        </pc:picChg>
        <pc:picChg chg="mod">
          <ac:chgData name="Lycias ZEMBE" userId="819fe179-392a-4df0-97f5-77f0d5008f0d" providerId="ADAL" clId="{EBFFC6BE-0764-4F8B-B03B-05F87F428DC8}" dt="2024-08-22T11:38:47.902" v="264" actId="1035"/>
          <ac:picMkLst>
            <pc:docMk/>
            <pc:sldMk cId="1378303612" sldId="261"/>
            <ac:picMk id="8" creationId="{9152CD4A-F368-A334-7F22-EEC51644AE5E}"/>
          </ac:picMkLst>
        </pc:picChg>
        <pc:picChg chg="mod">
          <ac:chgData name="Lycias ZEMBE" userId="819fe179-392a-4df0-97f5-77f0d5008f0d" providerId="ADAL" clId="{EBFFC6BE-0764-4F8B-B03B-05F87F428DC8}" dt="2024-08-22T11:38:47.902" v="264" actId="1035"/>
          <ac:picMkLst>
            <pc:docMk/>
            <pc:sldMk cId="1378303612" sldId="261"/>
            <ac:picMk id="9" creationId="{91B8D2D3-F439-EE06-ABAE-B0797197EFD1}"/>
          </ac:picMkLst>
        </pc:picChg>
        <pc:picChg chg="mod">
          <ac:chgData name="Lycias ZEMBE" userId="819fe179-392a-4df0-97f5-77f0d5008f0d" providerId="ADAL" clId="{EBFFC6BE-0764-4F8B-B03B-05F87F428DC8}" dt="2024-08-22T11:38:47.902" v="264" actId="1035"/>
          <ac:picMkLst>
            <pc:docMk/>
            <pc:sldMk cId="1378303612" sldId="261"/>
            <ac:picMk id="10" creationId="{75D263D8-B92E-3C44-3659-0DA74F10BE58}"/>
          </ac:picMkLst>
        </pc:picChg>
      </pc:sldChg>
      <pc:sldChg chg="modSp mod">
        <pc:chgData name="Lycias ZEMBE" userId="819fe179-392a-4df0-97f5-77f0d5008f0d" providerId="ADAL" clId="{EBFFC6BE-0764-4F8B-B03B-05F87F428DC8}" dt="2024-08-22T11:26:50.848" v="114" actId="20577"/>
        <pc:sldMkLst>
          <pc:docMk/>
          <pc:sldMk cId="3596578362" sldId="271"/>
        </pc:sldMkLst>
        <pc:spChg chg="mod">
          <ac:chgData name="Lycias ZEMBE" userId="819fe179-392a-4df0-97f5-77f0d5008f0d" providerId="ADAL" clId="{EBFFC6BE-0764-4F8B-B03B-05F87F428DC8}" dt="2024-08-22T11:26:28.553" v="103" actId="20577"/>
          <ac:spMkLst>
            <pc:docMk/>
            <pc:sldMk cId="3596578362" sldId="271"/>
            <ac:spMk id="8" creationId="{AE9F1F66-B0BD-4BD7-8CBF-C72357375E1A}"/>
          </ac:spMkLst>
        </pc:spChg>
        <pc:spChg chg="mod">
          <ac:chgData name="Lycias ZEMBE" userId="819fe179-392a-4df0-97f5-77f0d5008f0d" providerId="ADAL" clId="{EBFFC6BE-0764-4F8B-B03B-05F87F428DC8}" dt="2024-08-22T11:26:38.744" v="110" actId="20577"/>
          <ac:spMkLst>
            <pc:docMk/>
            <pc:sldMk cId="3596578362" sldId="271"/>
            <ac:spMk id="9" creationId="{F4EB60A8-3C36-DB0B-4547-A4FF2F6B2079}"/>
          </ac:spMkLst>
        </pc:spChg>
        <pc:spChg chg="mod">
          <ac:chgData name="Lycias ZEMBE" userId="819fe179-392a-4df0-97f5-77f0d5008f0d" providerId="ADAL" clId="{EBFFC6BE-0764-4F8B-B03B-05F87F428DC8}" dt="2024-08-22T11:26:50.848" v="114" actId="20577"/>
          <ac:spMkLst>
            <pc:docMk/>
            <pc:sldMk cId="3596578362" sldId="271"/>
            <ac:spMk id="29" creationId="{417C1CB2-04DA-4575-8105-A9525FC74E00}"/>
          </ac:spMkLst>
        </pc:spChg>
        <pc:picChg chg="mod">
          <ac:chgData name="Lycias ZEMBE" userId="819fe179-392a-4df0-97f5-77f0d5008f0d" providerId="ADAL" clId="{EBFFC6BE-0764-4F8B-B03B-05F87F428DC8}" dt="2024-08-22T11:26:45.544" v="111" actId="14100"/>
          <ac:picMkLst>
            <pc:docMk/>
            <pc:sldMk cId="3596578362" sldId="271"/>
            <ac:picMk id="25" creationId="{BC6EAD26-484B-45FA-A5EF-C6602D20019E}"/>
          </ac:picMkLst>
        </pc:picChg>
      </pc:sldChg>
      <pc:sldChg chg="del">
        <pc:chgData name="Lycias ZEMBE" userId="819fe179-392a-4df0-97f5-77f0d5008f0d" providerId="ADAL" clId="{EBFFC6BE-0764-4F8B-B03B-05F87F428DC8}" dt="2024-08-22T11:27:13.667" v="115" actId="47"/>
        <pc:sldMkLst>
          <pc:docMk/>
          <pc:sldMk cId="1774503768" sldId="3982"/>
        </pc:sldMkLst>
      </pc:sldChg>
      <pc:sldChg chg="delSp modSp mod">
        <pc:chgData name="Lycias ZEMBE" userId="819fe179-392a-4df0-97f5-77f0d5008f0d" providerId="ADAL" clId="{EBFFC6BE-0764-4F8B-B03B-05F87F428DC8}" dt="2024-08-22T11:31:32.495" v="226" actId="1036"/>
        <pc:sldMkLst>
          <pc:docMk/>
          <pc:sldMk cId="2692774338" sldId="4640"/>
        </pc:sldMkLst>
        <pc:spChg chg="mod">
          <ac:chgData name="Lycias ZEMBE" userId="819fe179-392a-4df0-97f5-77f0d5008f0d" providerId="ADAL" clId="{EBFFC6BE-0764-4F8B-B03B-05F87F428DC8}" dt="2024-08-22T11:29:18.239" v="124" actId="1076"/>
          <ac:spMkLst>
            <pc:docMk/>
            <pc:sldMk cId="2692774338" sldId="4640"/>
            <ac:spMk id="12" creationId="{1CDB2E92-6E5B-47C5-9E5E-2741A9225E5F}"/>
          </ac:spMkLst>
        </pc:spChg>
        <pc:spChg chg="mod">
          <ac:chgData name="Lycias ZEMBE" userId="819fe179-392a-4df0-97f5-77f0d5008f0d" providerId="ADAL" clId="{EBFFC6BE-0764-4F8B-B03B-05F87F428DC8}" dt="2024-08-22T11:31:20.039" v="212" actId="1035"/>
          <ac:spMkLst>
            <pc:docMk/>
            <pc:sldMk cId="2692774338" sldId="4640"/>
            <ac:spMk id="17" creationId="{315F2BBA-CCA5-43BF-97DE-F4AD8ABCE70B}"/>
          </ac:spMkLst>
        </pc:spChg>
        <pc:spChg chg="mod">
          <ac:chgData name="Lycias ZEMBE" userId="819fe179-392a-4df0-97f5-77f0d5008f0d" providerId="ADAL" clId="{EBFFC6BE-0764-4F8B-B03B-05F87F428DC8}" dt="2024-08-22T11:31:20.039" v="212" actId="1035"/>
          <ac:spMkLst>
            <pc:docMk/>
            <pc:sldMk cId="2692774338" sldId="4640"/>
            <ac:spMk id="18" creationId="{8696F02E-321B-4CE1-88FB-B1A17F0A018B}"/>
          </ac:spMkLst>
        </pc:spChg>
        <pc:spChg chg="mod">
          <ac:chgData name="Lycias ZEMBE" userId="819fe179-392a-4df0-97f5-77f0d5008f0d" providerId="ADAL" clId="{EBFFC6BE-0764-4F8B-B03B-05F87F428DC8}" dt="2024-08-22T11:30:47.984" v="140" actId="108"/>
          <ac:spMkLst>
            <pc:docMk/>
            <pc:sldMk cId="2692774338" sldId="4640"/>
            <ac:spMk id="23" creationId="{98921E0C-2213-48F7-B389-B04E0AFCA127}"/>
          </ac:spMkLst>
        </pc:spChg>
        <pc:grpChg chg="mod">
          <ac:chgData name="Lycias ZEMBE" userId="819fe179-392a-4df0-97f5-77f0d5008f0d" providerId="ADAL" clId="{EBFFC6BE-0764-4F8B-B03B-05F87F428DC8}" dt="2024-08-22T11:31:32.495" v="226" actId="1036"/>
          <ac:grpSpMkLst>
            <pc:docMk/>
            <pc:sldMk cId="2692774338" sldId="4640"/>
            <ac:grpSpMk id="8" creationId="{B0D93234-5777-4D21-A454-DFBA27B98A62}"/>
          </ac:grpSpMkLst>
        </pc:grpChg>
        <pc:grpChg chg="mod">
          <ac:chgData name="Lycias ZEMBE" userId="819fe179-392a-4df0-97f5-77f0d5008f0d" providerId="ADAL" clId="{EBFFC6BE-0764-4F8B-B03B-05F87F428DC8}" dt="2024-08-22T11:31:20.039" v="212" actId="1035"/>
          <ac:grpSpMkLst>
            <pc:docMk/>
            <pc:sldMk cId="2692774338" sldId="4640"/>
            <ac:grpSpMk id="19" creationId="{A05A786D-3EF9-4AE6-AE66-F6436089E5A5}"/>
          </ac:grpSpMkLst>
        </pc:grpChg>
        <pc:grpChg chg="mod">
          <ac:chgData name="Lycias ZEMBE" userId="819fe179-392a-4df0-97f5-77f0d5008f0d" providerId="ADAL" clId="{EBFFC6BE-0764-4F8B-B03B-05F87F428DC8}" dt="2024-08-22T11:31:20.039" v="212" actId="1035"/>
          <ac:grpSpMkLst>
            <pc:docMk/>
            <pc:sldMk cId="2692774338" sldId="4640"/>
            <ac:grpSpMk id="22" creationId="{92119AC1-E488-4A07-9F6F-1F357162679A}"/>
          </ac:grpSpMkLst>
        </pc:grpChg>
        <pc:grpChg chg="del">
          <ac:chgData name="Lycias ZEMBE" userId="819fe179-392a-4df0-97f5-77f0d5008f0d" providerId="ADAL" clId="{EBFFC6BE-0764-4F8B-B03B-05F87F428DC8}" dt="2024-08-22T11:30:58.114" v="141" actId="478"/>
          <ac:grpSpMkLst>
            <pc:docMk/>
            <pc:sldMk cId="2692774338" sldId="4640"/>
            <ac:grpSpMk id="30" creationId="{1104D664-81D5-4AA6-B502-39C6817C7451}"/>
          </ac:grpSpMkLst>
        </pc:grpChg>
      </pc:sldChg>
      <pc:sldChg chg="addSp delSp modSp mod ord">
        <pc:chgData name="Lycias ZEMBE" userId="819fe179-392a-4df0-97f5-77f0d5008f0d" providerId="ADAL" clId="{EBFFC6BE-0764-4F8B-B03B-05F87F428DC8}" dt="2024-08-22T11:28:14.151" v="117"/>
        <pc:sldMkLst>
          <pc:docMk/>
          <pc:sldMk cId="3769164221" sldId="4643"/>
        </pc:sldMkLst>
        <pc:spChg chg="mod">
          <ac:chgData name="Lycias ZEMBE" userId="819fe179-392a-4df0-97f5-77f0d5008f0d" providerId="ADAL" clId="{EBFFC6BE-0764-4F8B-B03B-05F87F428DC8}" dt="2024-08-22T11:22:52.807" v="26" actId="1076"/>
          <ac:spMkLst>
            <pc:docMk/>
            <pc:sldMk cId="3769164221" sldId="4643"/>
            <ac:spMk id="4" creationId="{AC805AF3-F976-B76F-6D8B-DB1C72634100}"/>
          </ac:spMkLst>
        </pc:spChg>
        <pc:spChg chg="mod">
          <ac:chgData name="Lycias ZEMBE" userId="819fe179-392a-4df0-97f5-77f0d5008f0d" providerId="ADAL" clId="{EBFFC6BE-0764-4F8B-B03B-05F87F428DC8}" dt="2024-08-22T11:25:24.641" v="72" actId="1076"/>
          <ac:spMkLst>
            <pc:docMk/>
            <pc:sldMk cId="3769164221" sldId="4643"/>
            <ac:spMk id="21" creationId="{3F1A7AAE-D2DF-2353-497E-BE8930C0B0C9}"/>
          </ac:spMkLst>
        </pc:spChg>
        <pc:spChg chg="del">
          <ac:chgData name="Lycias ZEMBE" userId="819fe179-392a-4df0-97f5-77f0d5008f0d" providerId="ADAL" clId="{EBFFC6BE-0764-4F8B-B03B-05F87F428DC8}" dt="2024-08-22T11:21:45.800" v="4" actId="478"/>
          <ac:spMkLst>
            <pc:docMk/>
            <pc:sldMk cId="3769164221" sldId="4643"/>
            <ac:spMk id="23" creationId="{DE4DE2D3-E3ED-F440-B7F9-E7FA6D654B51}"/>
          </ac:spMkLst>
        </pc:spChg>
        <pc:spChg chg="del">
          <ac:chgData name="Lycias ZEMBE" userId="819fe179-392a-4df0-97f5-77f0d5008f0d" providerId="ADAL" clId="{EBFFC6BE-0764-4F8B-B03B-05F87F428DC8}" dt="2024-08-22T11:21:47.089" v="5" actId="478"/>
          <ac:spMkLst>
            <pc:docMk/>
            <pc:sldMk cId="3769164221" sldId="4643"/>
            <ac:spMk id="25" creationId="{3B6EDF6D-8ED4-36D7-37CA-260DB75CF35F}"/>
          </ac:spMkLst>
        </pc:spChg>
        <pc:spChg chg="del">
          <ac:chgData name="Lycias ZEMBE" userId="819fe179-392a-4df0-97f5-77f0d5008f0d" providerId="ADAL" clId="{EBFFC6BE-0764-4F8B-B03B-05F87F428DC8}" dt="2024-08-22T11:22:03.962" v="13" actId="478"/>
          <ac:spMkLst>
            <pc:docMk/>
            <pc:sldMk cId="3769164221" sldId="4643"/>
            <ac:spMk id="29" creationId="{C30A0BC9-0257-733E-3472-010578F21B6E}"/>
          </ac:spMkLst>
        </pc:spChg>
        <pc:spChg chg="del mod">
          <ac:chgData name="Lycias ZEMBE" userId="819fe179-392a-4df0-97f5-77f0d5008f0d" providerId="ADAL" clId="{EBFFC6BE-0764-4F8B-B03B-05F87F428DC8}" dt="2024-08-22T11:21:58.184" v="11" actId="478"/>
          <ac:spMkLst>
            <pc:docMk/>
            <pc:sldMk cId="3769164221" sldId="4643"/>
            <ac:spMk id="32" creationId="{F84B1B97-7BB0-DF9B-FF3F-BC70B1040CAA}"/>
          </ac:spMkLst>
        </pc:spChg>
        <pc:spChg chg="mod">
          <ac:chgData name="Lycias ZEMBE" userId="819fe179-392a-4df0-97f5-77f0d5008f0d" providerId="ADAL" clId="{EBFFC6BE-0764-4F8B-B03B-05F87F428DC8}" dt="2024-08-22T11:26:09.624" v="89" actId="20577"/>
          <ac:spMkLst>
            <pc:docMk/>
            <pc:sldMk cId="3769164221" sldId="4643"/>
            <ac:spMk id="34" creationId="{133F65FE-CBD0-0A13-01D2-6BE35AB25105}"/>
          </ac:spMkLst>
        </pc:spChg>
        <pc:picChg chg="del">
          <ac:chgData name="Lycias ZEMBE" userId="819fe179-392a-4df0-97f5-77f0d5008f0d" providerId="ADAL" clId="{EBFFC6BE-0764-4F8B-B03B-05F87F428DC8}" dt="2024-08-22T11:21:39.018" v="0" actId="478"/>
          <ac:picMkLst>
            <pc:docMk/>
            <pc:sldMk cId="3769164221" sldId="4643"/>
            <ac:picMk id="3" creationId="{059BE6C6-E8F2-3088-7096-DF4E10FAFE79}"/>
          </ac:picMkLst>
        </pc:picChg>
        <pc:picChg chg="del">
          <ac:chgData name="Lycias ZEMBE" userId="819fe179-392a-4df0-97f5-77f0d5008f0d" providerId="ADAL" clId="{EBFFC6BE-0764-4F8B-B03B-05F87F428DC8}" dt="2024-08-22T11:21:41.996" v="1" actId="478"/>
          <ac:picMkLst>
            <pc:docMk/>
            <pc:sldMk cId="3769164221" sldId="4643"/>
            <ac:picMk id="6" creationId="{827EFDC8-96B8-1B9E-80F7-5779D7FD2838}"/>
          </ac:picMkLst>
        </pc:picChg>
        <pc:picChg chg="del">
          <ac:chgData name="Lycias ZEMBE" userId="819fe179-392a-4df0-97f5-77f0d5008f0d" providerId="ADAL" clId="{EBFFC6BE-0764-4F8B-B03B-05F87F428DC8}" dt="2024-08-22T11:21:42.832" v="2" actId="478"/>
          <ac:picMkLst>
            <pc:docMk/>
            <pc:sldMk cId="3769164221" sldId="4643"/>
            <ac:picMk id="8" creationId="{32EE59F7-377C-3FF4-B070-91615E98276B}"/>
          </ac:picMkLst>
        </pc:picChg>
        <pc:picChg chg="add mod">
          <ac:chgData name="Lycias ZEMBE" userId="819fe179-392a-4df0-97f5-77f0d5008f0d" providerId="ADAL" clId="{EBFFC6BE-0764-4F8B-B03B-05F87F428DC8}" dt="2024-08-22T11:26:15.343" v="91" actId="1038"/>
          <ac:picMkLst>
            <pc:docMk/>
            <pc:sldMk cId="3769164221" sldId="4643"/>
            <ac:picMk id="9" creationId="{7699BD14-6C75-DA52-C408-953C4DBF87F4}"/>
          </ac:picMkLst>
        </pc:picChg>
        <pc:picChg chg="del">
          <ac:chgData name="Lycias ZEMBE" userId="819fe179-392a-4df0-97f5-77f0d5008f0d" providerId="ADAL" clId="{EBFFC6BE-0764-4F8B-B03B-05F87F428DC8}" dt="2024-08-22T11:21:43.721" v="3" actId="478"/>
          <ac:picMkLst>
            <pc:docMk/>
            <pc:sldMk cId="3769164221" sldId="4643"/>
            <ac:picMk id="10" creationId="{F1DF83B5-3B74-EEE1-F35F-147A36620BF7}"/>
          </ac:picMkLst>
        </pc:picChg>
        <pc:picChg chg="del">
          <ac:chgData name="Lycias ZEMBE" userId="819fe179-392a-4df0-97f5-77f0d5008f0d" providerId="ADAL" clId="{EBFFC6BE-0764-4F8B-B03B-05F87F428DC8}" dt="2024-08-22T11:22:00.777" v="12" actId="478"/>
          <ac:picMkLst>
            <pc:docMk/>
            <pc:sldMk cId="3769164221" sldId="4643"/>
            <ac:picMk id="12" creationId="{5D2839B2-1F3C-E835-D4D0-496DEBE3087B}"/>
          </ac:picMkLst>
        </pc:picChg>
        <pc:picChg chg="add mod">
          <ac:chgData name="Lycias ZEMBE" userId="819fe179-392a-4df0-97f5-77f0d5008f0d" providerId="ADAL" clId="{EBFFC6BE-0764-4F8B-B03B-05F87F428DC8}" dt="2024-08-22T11:23:35.771" v="38" actId="1076"/>
          <ac:picMkLst>
            <pc:docMk/>
            <pc:sldMk cId="3769164221" sldId="4643"/>
            <ac:picMk id="13" creationId="{2A37A7D6-1DAC-962C-6992-ED0521595414}"/>
          </ac:picMkLst>
        </pc:picChg>
        <pc:picChg chg="add del">
          <ac:chgData name="Lycias ZEMBE" userId="819fe179-392a-4df0-97f5-77f0d5008f0d" providerId="ADAL" clId="{EBFFC6BE-0764-4F8B-B03B-05F87F428DC8}" dt="2024-08-22T11:23:59.714" v="44" actId="478"/>
          <ac:picMkLst>
            <pc:docMk/>
            <pc:sldMk cId="3769164221" sldId="4643"/>
            <ac:picMk id="15" creationId="{7FA779F3-979B-BDA1-5589-F00CA5CA0734}"/>
          </ac:picMkLst>
        </pc:picChg>
        <pc:picChg chg="del">
          <ac:chgData name="Lycias ZEMBE" userId="819fe179-392a-4df0-97f5-77f0d5008f0d" providerId="ADAL" clId="{EBFFC6BE-0764-4F8B-B03B-05F87F428DC8}" dt="2024-08-22T11:21:56.207" v="9" actId="478"/>
          <ac:picMkLst>
            <pc:docMk/>
            <pc:sldMk cId="3769164221" sldId="4643"/>
            <ac:picMk id="16" creationId="{442ED0FC-40D6-7D7A-E560-D2DBAA0383FD}"/>
          </ac:picMkLst>
        </pc:picChg>
        <pc:picChg chg="add mod">
          <ac:chgData name="Lycias ZEMBE" userId="819fe179-392a-4df0-97f5-77f0d5008f0d" providerId="ADAL" clId="{EBFFC6BE-0764-4F8B-B03B-05F87F428DC8}" dt="2024-08-22T11:24:22.527" v="50" actId="14100"/>
          <ac:picMkLst>
            <pc:docMk/>
            <pc:sldMk cId="3769164221" sldId="4643"/>
            <ac:picMk id="18" creationId="{9FD0986F-3C7D-8D4C-6BCC-5C42677A77BC}"/>
          </ac:picMkLst>
        </pc:picChg>
        <pc:picChg chg="del mod">
          <ac:chgData name="Lycias ZEMBE" userId="819fe179-392a-4df0-97f5-77f0d5008f0d" providerId="ADAL" clId="{EBFFC6BE-0764-4F8B-B03B-05F87F428DC8}" dt="2024-08-22T11:23:49.028" v="42" actId="478"/>
          <ac:picMkLst>
            <pc:docMk/>
            <pc:sldMk cId="3769164221" sldId="4643"/>
            <ac:picMk id="20" creationId="{ED900369-4D18-1F74-DC04-43EFD3F5551E}"/>
          </ac:picMkLst>
        </pc:picChg>
      </pc:sldChg>
      <pc:sldChg chg="del">
        <pc:chgData name="Lycias ZEMBE" userId="819fe179-392a-4df0-97f5-77f0d5008f0d" providerId="ADAL" clId="{EBFFC6BE-0764-4F8B-B03B-05F87F428DC8}" dt="2024-08-22T11:34:27.356" v="227" actId="47"/>
        <pc:sldMkLst>
          <pc:docMk/>
          <pc:sldMk cId="3212928042" sldId="4644"/>
        </pc:sldMkLst>
      </pc:sldChg>
    </pc:docChg>
  </pc:docChgLst>
  <pc:docChgLst>
    <pc:chgData name="BYARUHANGA, Buyinza Gloria" userId="bc07dbf1-f563-4e4e-a469-7b75e7407122" providerId="ADAL" clId="{F555154A-0799-4E99-AB55-5AEA28F27052}"/>
    <pc:docChg chg="modSld">
      <pc:chgData name="BYARUHANGA, Buyinza Gloria" userId="bc07dbf1-f563-4e4e-a469-7b75e7407122" providerId="ADAL" clId="{F555154A-0799-4E99-AB55-5AEA28F27052}" dt="2024-08-26T12:30:26.135" v="2" actId="20577"/>
      <pc:docMkLst>
        <pc:docMk/>
      </pc:docMkLst>
      <pc:sldChg chg="modSp mod">
        <pc:chgData name="BYARUHANGA, Buyinza Gloria" userId="bc07dbf1-f563-4e4e-a469-7b75e7407122" providerId="ADAL" clId="{F555154A-0799-4E99-AB55-5AEA28F27052}" dt="2024-08-26T12:30:26.135" v="2" actId="20577"/>
        <pc:sldMkLst>
          <pc:docMk/>
          <pc:sldMk cId="3769164221" sldId="4643"/>
        </pc:sldMkLst>
        <pc:spChg chg="mod">
          <ac:chgData name="BYARUHANGA, Buyinza Gloria" userId="bc07dbf1-f563-4e4e-a469-7b75e7407122" providerId="ADAL" clId="{F555154A-0799-4E99-AB55-5AEA28F27052}" dt="2024-08-26T12:30:26.135" v="2" actId="20577"/>
          <ac:spMkLst>
            <pc:docMk/>
            <pc:sldMk cId="3769164221" sldId="4643"/>
            <ac:spMk id="30" creationId="{D80FBA4D-8917-3A59-8897-C653B1A90A88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unaids-my.sharepoint.com/personal/zembel_unaids_org/Documents/Documents/95-95-95%202024%20Estimate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9AA-447E-A105-9B2DF0B2407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9AA-447E-A105-9B2DF0B2407E}"/>
              </c:ext>
            </c:extLst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89AA-447E-A105-9B2DF0B2407E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89AA-447E-A105-9B2DF0B2407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89AA-447E-A105-9B2DF0B2407E}"/>
              </c:ext>
            </c:extLst>
          </c:dPt>
          <c:dPt>
            <c:idx val="6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89AA-447E-A105-9B2DF0B2407E}"/>
              </c:ext>
            </c:extLst>
          </c:dPt>
          <c:dLbls>
            <c:dLbl>
              <c:idx val="0"/>
              <c:layout>
                <c:manualLayout>
                  <c:x val="-9.3512471690443456E-18"/>
                  <c:y val="7.844642341246072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AA-447E-A105-9B2DF0B2407E}"/>
                </c:ext>
              </c:extLst>
            </c:dLbl>
            <c:dLbl>
              <c:idx val="1"/>
              <c:layout>
                <c:manualLayout>
                  <c:x val="0"/>
                  <c:y val="7.8446423412461598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9AA-447E-A105-9B2DF0B2407E}"/>
                </c:ext>
              </c:extLst>
            </c:dLbl>
            <c:dLbl>
              <c:idx val="2"/>
              <c:layout>
                <c:manualLayout>
                  <c:x val="0"/>
                  <c:y val="-3.041455801736606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AA-447E-A105-9B2DF0B2407E}"/>
                </c:ext>
              </c:extLst>
            </c:dLbl>
            <c:dLbl>
              <c:idx val="4"/>
              <c:layout>
                <c:manualLayout>
                  <c:x val="7.4809977352354765E-17"/>
                  <c:y val="7.8446423412461598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9AA-447E-A105-9B2DF0B2407E}"/>
                </c:ext>
              </c:extLst>
            </c:dLbl>
            <c:dLbl>
              <c:idx val="5"/>
              <c:layout>
                <c:manualLayout>
                  <c:x val="-1.4961995470470953E-16"/>
                  <c:y val="-6.867375837597828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9AA-447E-A105-9B2DF0B2407E}"/>
                </c:ext>
              </c:extLst>
            </c:dLbl>
            <c:dLbl>
              <c:idx val="6"/>
              <c:layout>
                <c:manualLayout>
                  <c:x val="-6.1208870370215666E-3"/>
                  <c:y val="-3.041455801736641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9AA-447E-A105-9B2DF0B240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Sheet4!$C$6:$I$7</c:f>
              <c:multiLvlStrCache>
                <c:ptCount val="7"/>
                <c:lvl>
                  <c:pt idx="0">
                    <c:v>PLHIV who know their status</c:v>
                  </c:pt>
                  <c:pt idx="1">
                    <c:v>PLHIV who are on treatment</c:v>
                  </c:pt>
                  <c:pt idx="2">
                    <c:v>PLHIV virally suppressed</c:v>
                  </c:pt>
                  <c:pt idx="4">
                    <c:v>PLHIV who know their status</c:v>
                  </c:pt>
                  <c:pt idx="5">
                    <c:v>PLHIV who are on treatment</c:v>
                  </c:pt>
                  <c:pt idx="6">
                    <c:v>PLHIV virally suppressed</c:v>
                  </c:pt>
                </c:lvl>
                <c:lvl>
                  <c:pt idx="0">
                    <c:v>Female</c:v>
                  </c:pt>
                  <c:pt idx="4">
                    <c:v>Male</c:v>
                  </c:pt>
                </c:lvl>
              </c:multiLvlStrCache>
            </c:multiLvlStrRef>
          </c:cat>
          <c:val>
            <c:numRef>
              <c:f>Sheet4!$C$8:$I$8</c:f>
              <c:numCache>
                <c:formatCode>General</c:formatCode>
                <c:ptCount val="7"/>
                <c:pt idx="0">
                  <c:v>91</c:v>
                </c:pt>
                <c:pt idx="1">
                  <c:v>83</c:v>
                </c:pt>
                <c:pt idx="2">
                  <c:v>78</c:v>
                </c:pt>
                <c:pt idx="4">
                  <c:v>83</c:v>
                </c:pt>
                <c:pt idx="5">
                  <c:v>72</c:v>
                </c:pt>
                <c:pt idx="6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9AA-447E-A105-9B2DF0B2407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997882128"/>
        <c:axId val="997883088"/>
      </c:barChart>
      <c:catAx>
        <c:axId val="997882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7883088"/>
        <c:crosses val="autoZero"/>
        <c:auto val="1"/>
        <c:lblAlgn val="ctr"/>
        <c:lblOffset val="100"/>
        <c:noMultiLvlLbl val="0"/>
      </c:catAx>
      <c:valAx>
        <c:axId val="9978830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97882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0628845247584721E-2"/>
          <c:y val="3.1609195402298854E-2"/>
          <c:w val="0.89630639385407374"/>
          <c:h val="0.76387003348719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E$1:$E$2</c:f>
              <c:strCache>
                <c:ptCount val="2"/>
                <c:pt idx="0">
                  <c:v>PLHIV who know their statu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B$11</c:f>
              <c:strCache>
                <c:ptCount val="9"/>
                <c:pt idx="0">
                  <c:v>Asia and the Pacific</c:v>
                </c:pt>
                <c:pt idx="1">
                  <c:v>Caribbean</c:v>
                </c:pt>
                <c:pt idx="2">
                  <c:v>Eastern and southern Africa</c:v>
                </c:pt>
                <c:pt idx="3">
                  <c:v>Eastern Europe and central Asia</c:v>
                </c:pt>
                <c:pt idx="4">
                  <c:v>Latin America</c:v>
                </c:pt>
                <c:pt idx="5">
                  <c:v>Middle East and North Africa</c:v>
                </c:pt>
                <c:pt idx="6">
                  <c:v>Western and central Africa</c:v>
                </c:pt>
                <c:pt idx="7">
                  <c:v>*Western and Central Europe and North America</c:v>
                </c:pt>
                <c:pt idx="8">
                  <c:v>Global</c:v>
                </c:pt>
              </c:strCache>
            </c:strRef>
          </c:cat>
          <c:val>
            <c:numRef>
              <c:f>Sheet1!$E$3:$E$11</c:f>
              <c:numCache>
                <c:formatCode>General</c:formatCode>
                <c:ptCount val="9"/>
                <c:pt idx="0">
                  <c:v>8</c:v>
                </c:pt>
                <c:pt idx="1">
                  <c:v>11</c:v>
                </c:pt>
                <c:pt idx="2">
                  <c:v>4</c:v>
                </c:pt>
                <c:pt idx="3">
                  <c:v>20</c:v>
                </c:pt>
                <c:pt idx="4">
                  <c:v>-1</c:v>
                </c:pt>
                <c:pt idx="5">
                  <c:v>-11</c:v>
                </c:pt>
                <c:pt idx="6">
                  <c:v>9</c:v>
                </c:pt>
                <c:pt idx="8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DE-456C-B806-8CBFA4DDDCCA}"/>
            </c:ext>
          </c:extLst>
        </c:ser>
        <c:ser>
          <c:idx val="1"/>
          <c:order val="1"/>
          <c:tx>
            <c:strRef>
              <c:f>Sheet1!$H$1:$H$2</c:f>
              <c:strCache>
                <c:ptCount val="2"/>
                <c:pt idx="0">
                  <c:v>PLHIV who are on treatment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B$11</c:f>
              <c:strCache>
                <c:ptCount val="9"/>
                <c:pt idx="0">
                  <c:v>Asia and the Pacific</c:v>
                </c:pt>
                <c:pt idx="1">
                  <c:v>Caribbean</c:v>
                </c:pt>
                <c:pt idx="2">
                  <c:v>Eastern and southern Africa</c:v>
                </c:pt>
                <c:pt idx="3">
                  <c:v>Eastern Europe and central Asia</c:v>
                </c:pt>
                <c:pt idx="4">
                  <c:v>Latin America</c:v>
                </c:pt>
                <c:pt idx="5">
                  <c:v>Middle East and North Africa</c:v>
                </c:pt>
                <c:pt idx="6">
                  <c:v>Western and central Africa</c:v>
                </c:pt>
                <c:pt idx="7">
                  <c:v>*Western and Central Europe and North America</c:v>
                </c:pt>
                <c:pt idx="8">
                  <c:v>Global</c:v>
                </c:pt>
              </c:strCache>
            </c:strRef>
          </c:cat>
          <c:val>
            <c:numRef>
              <c:f>Sheet1!$H$3:$H$11</c:f>
              <c:numCache>
                <c:formatCode>General</c:formatCode>
                <c:ptCount val="9"/>
                <c:pt idx="0">
                  <c:v>6</c:v>
                </c:pt>
                <c:pt idx="1">
                  <c:v>13</c:v>
                </c:pt>
                <c:pt idx="2">
                  <c:v>8</c:v>
                </c:pt>
                <c:pt idx="3">
                  <c:v>17</c:v>
                </c:pt>
                <c:pt idx="4">
                  <c:v>-2</c:v>
                </c:pt>
                <c:pt idx="5">
                  <c:v>-10</c:v>
                </c:pt>
                <c:pt idx="6">
                  <c:v>9</c:v>
                </c:pt>
                <c:pt idx="7">
                  <c:v>1</c:v>
                </c:pt>
                <c:pt idx="8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DE-456C-B806-8CBFA4DDDCCA}"/>
            </c:ext>
          </c:extLst>
        </c:ser>
        <c:ser>
          <c:idx val="2"/>
          <c:order val="2"/>
          <c:tx>
            <c:strRef>
              <c:f>Sheet1!$K$1:$K$2</c:f>
              <c:strCache>
                <c:ptCount val="2"/>
                <c:pt idx="0">
                  <c:v>PLHIV virally suppressed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B$11</c:f>
              <c:strCache>
                <c:ptCount val="9"/>
                <c:pt idx="0">
                  <c:v>Asia and the Pacific</c:v>
                </c:pt>
                <c:pt idx="1">
                  <c:v>Caribbean</c:v>
                </c:pt>
                <c:pt idx="2">
                  <c:v>Eastern and southern Africa</c:v>
                </c:pt>
                <c:pt idx="3">
                  <c:v>Eastern Europe and central Asia</c:v>
                </c:pt>
                <c:pt idx="4">
                  <c:v>Latin America</c:v>
                </c:pt>
                <c:pt idx="5">
                  <c:v>Middle East and North Africa</c:v>
                </c:pt>
                <c:pt idx="6">
                  <c:v>Western and central Africa</c:v>
                </c:pt>
                <c:pt idx="7">
                  <c:v>*Western and Central Europe and North America</c:v>
                </c:pt>
                <c:pt idx="8">
                  <c:v>Global</c:v>
                </c:pt>
              </c:strCache>
            </c:strRef>
          </c:cat>
          <c:val>
            <c:numRef>
              <c:f>Sheet1!$K$3:$K$11</c:f>
              <c:numCache>
                <c:formatCode>General</c:formatCode>
                <c:ptCount val="9"/>
                <c:pt idx="0">
                  <c:v>7</c:v>
                </c:pt>
                <c:pt idx="1">
                  <c:v>11</c:v>
                </c:pt>
                <c:pt idx="2">
                  <c:v>8</c:v>
                </c:pt>
                <c:pt idx="3">
                  <c:v>15</c:v>
                </c:pt>
                <c:pt idx="4">
                  <c:v>-1</c:v>
                </c:pt>
                <c:pt idx="5">
                  <c:v>-9</c:v>
                </c:pt>
                <c:pt idx="6">
                  <c:v>8</c:v>
                </c:pt>
                <c:pt idx="8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4DE-456C-B806-8CBFA4DDDC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80370464"/>
        <c:axId val="280380544"/>
      </c:barChart>
      <c:catAx>
        <c:axId val="2803704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280380544"/>
        <c:crosses val="autoZero"/>
        <c:auto val="1"/>
        <c:lblAlgn val="ctr"/>
        <c:lblOffset val="100"/>
        <c:noMultiLvlLbl val="0"/>
      </c:catAx>
      <c:valAx>
        <c:axId val="28038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 sz="1200">
                    <a:latin typeface="Calibri" panose="020F0502020204030204" pitchFamily="34" charset="0"/>
                    <a:cs typeface="Calibri" panose="020F0502020204030204" pitchFamily="34" charset="0"/>
                  </a:rPr>
                  <a:t>Gap on progress between female and male (%)</a:t>
                </a:r>
              </a:p>
            </c:rich>
          </c:tx>
          <c:layout>
            <c:manualLayout>
              <c:xMode val="edge"/>
              <c:yMode val="edge"/>
              <c:x val="1.1871691832507796E-2"/>
              <c:y val="5.870214499049687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280370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752601173388279"/>
          <c:y val="3.3584261019096749E-2"/>
          <c:w val="0.23019934456302146"/>
          <c:h val="0.14547515612272605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HIV2024Estimates_KOS_Embargo.xlsx]Pivot!PivotTable2</c:name>
    <c:fmtId val="8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1666372094408751"/>
          <c:y val="2.2158661667053246E-2"/>
          <c:w val="0.6261209467353781"/>
          <c:h val="0.803914306517015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ivot!$B$5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Pivot!$A$55:$A$63</c:f>
              <c:strCache>
                <c:ptCount val="8"/>
                <c:pt idx="0">
                  <c:v>Caribbean</c:v>
                </c:pt>
                <c:pt idx="1">
                  <c:v>Eastern Europe and central Asia</c:v>
                </c:pt>
                <c:pt idx="2">
                  <c:v>Middle East and North Africa</c:v>
                </c:pt>
                <c:pt idx="3">
                  <c:v>Western and central Africa</c:v>
                </c:pt>
                <c:pt idx="4">
                  <c:v>Latin America</c:v>
                </c:pt>
                <c:pt idx="5">
                  <c:v>Western and central Europe and North America</c:v>
                </c:pt>
                <c:pt idx="6">
                  <c:v>Eastern and southern Africa</c:v>
                </c:pt>
                <c:pt idx="7">
                  <c:v>Asia and the Pacific</c:v>
                </c:pt>
              </c:strCache>
            </c:strRef>
          </c:cat>
          <c:val>
            <c:numRef>
              <c:f>Pivot!$B$55:$B$63</c:f>
              <c:numCache>
                <c:formatCode>_ * #,##0_ ;_ * \-#,##0_ ;_ * "-"??_ ;_ @_ </c:formatCode>
                <c:ptCount val="8"/>
                <c:pt idx="0">
                  <c:v>21561.881809080496</c:v>
                </c:pt>
                <c:pt idx="1">
                  <c:v>25612.716523757372</c:v>
                </c:pt>
                <c:pt idx="2">
                  <c:v>39601.236178437182</c:v>
                </c:pt>
                <c:pt idx="3">
                  <c:v>314170.40708841739</c:v>
                </c:pt>
                <c:pt idx="4">
                  <c:v>332799.23135466949</c:v>
                </c:pt>
                <c:pt idx="5">
                  <c:v>437419.86637962481</c:v>
                </c:pt>
                <c:pt idx="6">
                  <c:v>619665.28274788253</c:v>
                </c:pt>
                <c:pt idx="7">
                  <c:v>765404.622443307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5D-444D-9120-D9BAF05669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axId val="1414778319"/>
        <c:axId val="1414777359"/>
      </c:barChart>
      <c:catAx>
        <c:axId val="141477831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14777359"/>
        <c:crosses val="autoZero"/>
        <c:auto val="1"/>
        <c:lblAlgn val="ctr"/>
        <c:lblOffset val="100"/>
        <c:noMultiLvlLbl val="0"/>
      </c:catAx>
      <c:valAx>
        <c:axId val="1414777359"/>
        <c:scaling>
          <c:orientation val="minMax"/>
          <c:max val="8000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 sz="12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Absolute number of undiagnosed men</a:t>
                </a:r>
              </a:p>
            </c:rich>
          </c:tx>
          <c:layout>
            <c:manualLayout>
              <c:xMode val="edge"/>
              <c:yMode val="edge"/>
              <c:x val="0.4969739840813675"/>
              <c:y val="0.9138011667176627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147783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lt1"/>
    </cs:fontRef>
    <cs:spPr/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7344B7-35A9-4E23-BFFB-59CA62B43116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ECB6E7-5849-4E8B-B6EE-4C1B25E3F5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033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626A2-DB14-4DDC-8EB6-3916C5C40094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0733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troduction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Despite significant strides in the global HIV response, men are consistently falling behind in achieving the 95-95-95 targets compared to women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y Data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Only 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83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% of men living with HIV know their status, 7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% are on treatment, and 6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7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% are virally suppressed, compared to higher percentages among women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mplications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his gap highlights the urgent need for targeted interventions to better engage men in HIV testing, treatment, and care services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9690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is slide calculates and illustrates the percentage gap between females and males for the 95-95-95 targets across different regions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y Observations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 some regions, the gap is quite large, indicating a significant lag in men's progress compared to women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or instance, in Eastern Europe and Central Asia, the gap is particularly pronounced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ctionable Insights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Addressing these gender disparities requires targeted interventions that focus specifically on the needs of men in these regions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23624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ndiagnosed Men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his slide shows the absolute number of men living with HIV who are undiagnosed in different regions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y Regions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sia and the Pacific </a:t>
            </a:r>
            <a:r>
              <a:rPr lang="en-US" sz="1100" b="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– Highest number of undiagnosed men – mostly men from key population epidemic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astern and Southern Africa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cond h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ghest number of undiagnosed men, highlighting a critical area for intervention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estern and Central Africa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Also significant numbers of undiagnosed men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CH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rgency</a:t>
            </a:r>
            <a:r>
              <a:rPr lang="en-CH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Addressing these undiagnosed cases is crucial for controlling the epidemic and reaching global HIV targets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EBB310-1669-49A4-A50B-F0839AA046DA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23474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ECB6E7-5849-4E8B-B6EE-4C1B25E3F5C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123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FEB4B4A-D3B3-404B-86BF-A24B36DEEEC2}"/>
              </a:ext>
            </a:extLst>
          </p:cNvPr>
          <p:cNvSpPr/>
          <p:nvPr userDrawn="1"/>
        </p:nvSpPr>
        <p:spPr>
          <a:xfrm>
            <a:off x="0" y="0"/>
            <a:ext cx="12192000" cy="57673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3404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6B23F-BB96-4DBD-ADE7-6FE6F5496E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A9D4B1-DD11-48FC-A767-4AC8443FCE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276E8D-B4A9-4FD9-B98B-0BD91DD22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7A90C-45C0-4217-8FE9-9D7BA7C6D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3FA520-63A7-464E-99D8-F9B13C206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915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AD4E1-15D4-43CB-93A2-53BF5B4980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C7A50C-4868-4C4C-9D9B-DFAD3003F1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1719516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38912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chart </a:t>
            </a:r>
            <a:r>
              <a:rPr lang="fr-CH" err="1"/>
              <a:t>title</a:t>
            </a:r>
            <a:endParaRPr lang="LID4096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tx2"/>
          </a:solidFill>
        </p:spPr>
        <p:txBody>
          <a:bodyPr wrap="none" lIns="182880" tIns="91440" rIns="182880"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686860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38912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accent2"/>
          </a:solidFill>
        </p:spPr>
        <p:txBody>
          <a:bodyPr wrap="none" lIns="182880" tIns="91440" rIns="182880"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9974339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38912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accent3"/>
          </a:solidFill>
        </p:spPr>
        <p:txBody>
          <a:bodyPr wrap="none" lIns="182880" tIns="91440" rIns="182880" anchor="ctr" anchorCtr="1">
            <a:normAutofit/>
          </a:bodyPr>
          <a:lstStyle>
            <a:lvl1pPr marL="0" indent="0">
              <a:buNone/>
              <a:defRPr sz="3600" b="1" i="0" baseline="0"/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2880864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150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74788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ACCD9-EF2D-A34A-9685-13735C7E0CD2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ED06B-6919-1F41-9AA6-9449B73C6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653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6B23F-BB96-4DBD-ADE7-6FE6F5496E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A9D4B1-DD11-48FC-A767-4AC8443FCE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276E8D-B4A9-4FD9-B98B-0BD91DD22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7A90C-45C0-4217-8FE9-9D7BA7C6D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3FA520-63A7-464E-99D8-F9B13C206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6570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2E471-EF90-4E8D-A146-1BDA043139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042D8E-3AB1-492A-9F89-9C8272434C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56F617-C396-4B05-9E68-37C29DD38C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189015-7C49-4113-ACC3-F777D3065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CD9FB4-9B3D-4B91-A273-70A51E8A5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700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04013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B54EF-18D0-4F61-ADE9-3B2E7F102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DB9D6-6F43-4CE9-B241-EBA68090DB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0FAE21-EBCE-4C27-AD26-84DDE4D90C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AEF519-63BE-458F-A9E9-F447A46A2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F1C392-AC6C-4637-825D-48C2E4D41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3416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5E16B-3635-4962-9376-22BACD079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849B6A-633B-43AB-AE1F-EA010B5149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522B7C-3EC7-4C2E-904F-D57801F882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A917-D764-4EEA-8363-689FD9D81D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8DDFA7-179B-47F2-9CFA-9F654E10D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E97A3A-B25E-4258-A5F3-E321AC168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3119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CCEED-FBA8-43F5-AA4E-93AAA97A7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3E67CA-688B-4232-8F39-25038792F2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E58DCE-BD2D-477F-A4B8-58009A0714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12F598-CCE0-45DC-B5EC-B552D6DEEE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6B429D7-C369-4B9A-A8C9-FCE5E5E48A8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498359A-9DEE-4EB8-A82F-AC9AC9886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902B9B1-E6DB-43DD-8F3C-A4EBC70E52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91E15F-33AD-4924-934F-7470BCC86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4733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9B4C4D-0519-4A89-BB2A-C2E2EF510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110571-A45F-4453-8704-B4FEF82BB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75319A-3874-4BC6-947A-006D45E1E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A297A1-6D0E-4569-B6D8-503628602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4928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29F875-30DB-42AA-BFF1-A82F698B9B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2A367C-6BDE-418E-A315-F2AF40C52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6502FE-02CD-4FAF-B5A2-AECB135F3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3053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50C71-9CDA-4909-8BFD-72893B0D7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B55E07-2C50-4524-BAA9-AD4661FCA3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95C14A-BF4E-48F9-96A9-210521F3A3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E2EA38-5E8B-4475-BB4D-81045E95E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DE5C28-8D6E-407F-87C9-126D31FC5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E19C49-B500-47EB-BC82-6CE540CA4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7322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E6526-09A4-4BC8-BEA7-A3255DC5E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016B0-FD10-4234-B015-2757292261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2B0A65-2455-4D6F-821C-2EFBC64AD5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AB98AB-7F3E-4EC4-A816-BA072F7D2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4A6E9F-1441-4378-A685-0F98321451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2F9A06-C8CF-4242-B7EC-DA7B08568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3401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55217-B6FB-4A35-9486-55F1ED5C1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F7304A-E900-4669-A6FB-BF3E84CA0B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F57FD9-8C9F-45A3-9150-3464548BC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F7C62-097F-462E-8E8A-AF56004D2A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C72656-330F-4E72-952E-8F7B5D5179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9971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FCEDD2-91E8-4BA0-84EB-BFBF1E22553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F862DE-9C29-4423-9900-870D63622C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6EE1DF-1D41-47FA-956F-1C37F4F729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2C1385-3F94-4112-AF6D-C4805DEEA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2AD8EB-6E3F-41C0-A9F8-7C49FDB67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2970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rawing of a person&#10;&#10;Description automatically generated">
            <a:extLst>
              <a:ext uri="{FF2B5EF4-FFF2-40B4-BE49-F238E27FC236}">
                <a16:creationId xmlns:a16="http://schemas.microsoft.com/office/drawing/2014/main" id="{1BD738AC-CDEB-4F80-94A7-E9EDEFC141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280" y="6309360"/>
            <a:ext cx="1540764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860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6B23F-BB96-4DBD-ADE7-6FE6F5496E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A9D4B1-DD11-48FC-A767-4AC8443FCE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276E8D-B4A9-4FD9-B98B-0BD91DD22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7A90C-45C0-4217-8FE9-9D7BA7C6D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3FA520-63A7-464E-99D8-F9B13C206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108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Imag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-1"/>
            <a:ext cx="6096000" cy="6371351"/>
          </a:xfrm>
          <a:solidFill>
            <a:schemeClr val="bg1">
              <a:lumMod val="95000"/>
            </a:schemeClr>
          </a:solidFill>
        </p:spPr>
        <p:txBody>
          <a:bodyPr tIns="1584000" anchor="t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1800" y="3802899"/>
            <a:ext cx="4648200" cy="985000"/>
          </a:xfrm>
          <a:solidFill>
            <a:schemeClr val="bg1"/>
          </a:solidFill>
        </p:spPr>
        <p:txBody>
          <a:bodyPr lIns="180000" tIns="180000" rIns="180000" bIns="180000"/>
          <a:lstStyle>
            <a:lvl1pPr algn="r">
              <a:defRPr sz="6000" b="1" spc="-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11800" y="4787900"/>
            <a:ext cx="4648200" cy="1162800"/>
          </a:xfrm>
          <a:solidFill>
            <a:schemeClr val="tx1">
              <a:alpha val="80000"/>
            </a:schemeClr>
          </a:solidFill>
        </p:spPr>
        <p:txBody>
          <a:bodyPr lIns="180000" tIns="180000" rIns="180000" bIns="180000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2668686"/>
            <a:ext cx="5472000" cy="2999426"/>
          </a:xfrm>
        </p:spPr>
        <p:txBody>
          <a:bodyPr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05ED12-A431-4761-87A4-F05164BE022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08F53F-6AA2-4060-904A-BC90211DC043}"/>
              </a:ext>
            </a:extLst>
          </p:cNvPr>
          <p:cNvSpPr/>
          <p:nvPr userDrawn="1"/>
        </p:nvSpPr>
        <p:spPr>
          <a:xfrm>
            <a:off x="9348588" y="3700775"/>
            <a:ext cx="2411412" cy="1148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184162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rgbClr val="0074A2"/>
          </a:solidFill>
        </p:spPr>
        <p:txBody>
          <a:bodyPr bIns="1980000" anchor="ctr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 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3"/>
            <a:ext cx="12191999" cy="1655999"/>
          </a:xfrm>
          <a:solidFill>
            <a:schemeClr val="tx2"/>
          </a:solidFill>
        </p:spPr>
        <p:txBody>
          <a:bodyPr lIns="468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7344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lIns="0" anchor="ctr">
            <a:noAutofit/>
          </a:bodyPr>
          <a:lstStyle>
            <a:lvl1pPr>
              <a:defRPr sz="1000" b="0">
                <a:solidFill>
                  <a:schemeClr val="bg2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90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bg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www.who.int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999" y="5440855"/>
            <a:ext cx="11211172" cy="288000"/>
          </a:xfrm>
        </p:spPr>
        <p:txBody>
          <a:bodyPr lIns="0" rIns="90000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8518300" y="488563"/>
            <a:ext cx="3172871" cy="11124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026036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/>
          <a:p>
            <a:fld id="{DCD9F9BF-D269-4020-816F-460E917B7A74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32847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invGray">
          <a:xfrm>
            <a:off x="479999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39CDCE64-EE06-4559-BA59-FD6059702EC4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7085000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167802BA-8623-48AE-9924-9F5F6790139C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31180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035824F7-C870-482C-80C0-AFECF2DA260C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30"/>
          </p:nvPr>
        </p:nvSpPr>
        <p:spPr bwMode="invGray">
          <a:xfrm>
            <a:off x="479999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4"/>
          </p:nvPr>
        </p:nvSpPr>
        <p:spPr bwMode="invGray">
          <a:xfrm>
            <a:off x="6234364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5"/>
          </p:nvPr>
        </p:nvSpPr>
        <p:spPr bwMode="invGray">
          <a:xfrm>
            <a:off x="479999" y="4039524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6"/>
          </p:nvPr>
        </p:nvSpPr>
        <p:spPr bwMode="invGray">
          <a:xfrm>
            <a:off x="6234365" y="4039524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27947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BBB6CCEC-3D0A-48BE-9958-590F11C39C0A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9"/>
          </p:nvPr>
        </p:nvSpPr>
        <p:spPr bwMode="invGray">
          <a:xfrm>
            <a:off x="4317181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0"/>
          </p:nvPr>
        </p:nvSpPr>
        <p:spPr bwMode="invGray">
          <a:xfrm>
            <a:off x="4317181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31"/>
          </p:nvPr>
        </p:nvSpPr>
        <p:spPr bwMode="invGray">
          <a:xfrm>
            <a:off x="8154364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2"/>
          </p:nvPr>
        </p:nvSpPr>
        <p:spPr bwMode="invGray">
          <a:xfrm>
            <a:off x="8154364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6200956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/ Tex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414CCF51-8078-42ED-9407-7F055975162E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690511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  <a:solidFill>
            <a:srgbClr val="009CDE"/>
          </a:solidFill>
        </p:spPr>
        <p:txBody>
          <a:bodyPr lIns="144000" tIns="144000" rIns="144000" bIns="144000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B5CB8422-2CBD-43EC-AF21-8B33A2ACAA82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8211500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11226364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6C135116-9A9A-47DA-A114-676E0C1FD8BF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978447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8228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 large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 bwMode="invGray"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AD0CC27D-0020-48D4-9B6C-9E6EA0640D93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 bwMode="invGray">
          <a:noFill/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  <a:noFill/>
        </p:spPr>
        <p:txBody>
          <a:bodyPr anchor="t">
            <a:normAutofit/>
          </a:bodyPr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 bwMode="invGray">
          <a:xfrm>
            <a:off x="479999" y="1800000"/>
            <a:ext cx="11226365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400" b="1">
                <a:solidFill>
                  <a:schemeClr val="bg2"/>
                </a:solidFill>
                <a:latin typeface="+mn-lt"/>
              </a:defRPr>
            </a:lvl1pPr>
            <a:lvl2pPr>
              <a:lnSpc>
                <a:spcPct val="110000"/>
              </a:lnSpc>
              <a:defRPr sz="1400">
                <a:solidFill>
                  <a:schemeClr val="bg2"/>
                </a:solidFill>
                <a:latin typeface="+mn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340298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Intro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0"/>
            <a:ext cx="12192000" cy="6858000"/>
          </a:xfrm>
          <a:solidFill>
            <a:srgbClr val="0074A2"/>
          </a:solidFill>
        </p:spPr>
        <p:txBody>
          <a:bodyPr wrap="square" tIns="1980000" bIns="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2" y="1800000"/>
            <a:ext cx="4279900" cy="1649446"/>
          </a:xfrm>
          <a:solidFill>
            <a:schemeClr val="tx2">
              <a:alpha val="90000"/>
            </a:schemeClr>
          </a:solidFill>
        </p:spPr>
        <p:txBody>
          <a:bodyPr lIns="468000" tIns="180000" rIns="360000" bIns="180000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  <a:lvl2pPr marL="541338" indent="-274638">
              <a:tabLst>
                <a:tab pos="1614488" algn="l"/>
              </a:tabLst>
              <a:defRPr sz="2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A68D69CF-73BC-4E26-B56A-FEC2ABB77ED4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|     Title of the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9737763" y="370800"/>
            <a:ext cx="1976400" cy="6948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805648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30"/>
          </p:nvPr>
        </p:nvSpPr>
        <p:spPr bwMode="gray"/>
        <p:txBody>
          <a:bodyPr/>
          <a:lstStyle/>
          <a:p>
            <a:fld id="{99262F6C-3198-4C0D-9FD3-A522B66D4040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GB" noProof="0" dirty="0"/>
              <a:t>|     Title of the present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479999" y="359999"/>
            <a:ext cx="8160000" cy="7200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480001" y="1800002"/>
            <a:ext cx="6367841" cy="1424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479999" y="2143683"/>
            <a:ext cx="988484" cy="396000"/>
          </a:xfrm>
        </p:spPr>
        <p:txBody>
          <a:bodyPr/>
          <a:lstStyle>
            <a:lvl1pPr>
              <a:defRPr sz="2800" b="1"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707437" y="214368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7432736" y="214368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479999" y="2877928"/>
            <a:ext cx="988484" cy="396000"/>
          </a:xfrm>
        </p:spPr>
        <p:txBody>
          <a:bodyPr/>
          <a:lstStyle>
            <a:lvl1pPr>
              <a:defRPr sz="2800" b="1"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707437" y="287792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432736" y="287792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479999" y="3612173"/>
            <a:ext cx="988484" cy="396000"/>
          </a:xfrm>
        </p:spPr>
        <p:txBody>
          <a:bodyPr/>
          <a:lstStyle>
            <a:lvl1pPr>
              <a:defRPr sz="2800" b="1"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707437" y="361217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432736" y="361217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479999" y="4346418"/>
            <a:ext cx="988484" cy="396000"/>
          </a:xfrm>
        </p:spPr>
        <p:txBody>
          <a:bodyPr/>
          <a:lstStyle>
            <a:lvl1pPr>
              <a:defRPr sz="2800" b="1"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1707437" y="434641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7432736" y="434641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479999" y="5080663"/>
            <a:ext cx="988484" cy="396000"/>
          </a:xfrm>
        </p:spPr>
        <p:txBody>
          <a:bodyPr/>
          <a:lstStyle>
            <a:lvl1pPr>
              <a:defRPr sz="2800" b="1"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707437" y="508066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432736" y="508066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479999" y="5814910"/>
            <a:ext cx="988484" cy="396000"/>
          </a:xfrm>
        </p:spPr>
        <p:txBody>
          <a:bodyPr/>
          <a:lstStyle>
            <a:lvl1pPr>
              <a:defRPr sz="2800" b="1"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707437" y="5814910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7432736" y="5814910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6797012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7BA931E1-7FC2-4DBD-9F66-3D1575A3F79C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1203203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rgbClr val="0074A2"/>
          </a:solidFill>
        </p:spPr>
        <p:txBody>
          <a:bodyPr bIns="1980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anchor="ctr">
            <a:noAutofit/>
          </a:bodyPr>
          <a:lstStyle>
            <a:lvl1pPr>
              <a:defRPr sz="1000" b="0">
                <a:solidFill>
                  <a:schemeClr val="bg2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Name of Author  |  Function | Division | Country 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bg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3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7344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0"/>
            <a:ext cx="12191999" cy="1656000"/>
          </a:xfrm>
          <a:solidFill>
            <a:schemeClr val="tx2">
              <a:alpha val="90000"/>
            </a:schemeClr>
          </a:solidFill>
        </p:spPr>
        <p:txBody>
          <a:bodyPr lIns="468000" tIns="216000" rIns="360000" bIns="216000" numCol="3"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 noProof="0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518301" y="488563"/>
            <a:ext cx="3172871" cy="11124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15387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23AEB1-0D5E-C149-B321-DA4AB548DA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0194" y="1214438"/>
            <a:ext cx="7762141" cy="238760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A3CDA8-099F-7744-8846-6B15B2414D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0195" y="3602038"/>
            <a:ext cx="7762140" cy="160558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D8812D-64FD-E54A-976C-8D69B0F655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35" y="6356350"/>
            <a:ext cx="2743200" cy="365125"/>
          </a:xfrm>
        </p:spPr>
        <p:txBody>
          <a:bodyPr/>
          <a:lstStyle/>
          <a:p>
            <a:fld id="{777FC42F-A652-4948-84ED-31A8A4279A7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A8ED70F-11D1-C346-9FBD-DE88B028B9C5}"/>
              </a:ext>
            </a:extLst>
          </p:cNvPr>
          <p:cNvSpPr/>
          <p:nvPr userDrawn="1"/>
        </p:nvSpPr>
        <p:spPr>
          <a:xfrm>
            <a:off x="-39615" y="0"/>
            <a:ext cx="3106200" cy="19304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32">
            <a:extLst>
              <a:ext uri="{FF2B5EF4-FFF2-40B4-BE49-F238E27FC236}">
                <a16:creationId xmlns:a16="http://schemas.microsoft.com/office/drawing/2014/main" id="{C8EA37E7-2A47-694A-A363-02C512C236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65" y="349539"/>
            <a:ext cx="1989139" cy="1370913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2A377A-55D5-5348-A8DD-C6A1A36330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59914" y="5207620"/>
            <a:ext cx="7772481" cy="69152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557E55-95EF-2043-9F60-FB9E49529C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9615" y="1930400"/>
            <a:ext cx="3289300" cy="4927600"/>
          </a:xfrm>
          <a:prstGeom prst="rect">
            <a:avLst/>
          </a:prstGeom>
        </p:spPr>
      </p:pic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EE7514FB-F824-3047-967D-583AFF4686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50993" y="427831"/>
            <a:ext cx="3881342" cy="329406"/>
          </a:xfrm>
        </p:spPr>
        <p:txBody>
          <a:bodyPr>
            <a:norm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11231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A6EB25-EEBF-F443-9A1B-CB082D853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9367" y="1081669"/>
            <a:ext cx="10772968" cy="1215482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41C9FD-89EB-2A48-AFCB-E06C42DAD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9367" y="2554675"/>
            <a:ext cx="10772968" cy="3622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1CBFD3-553E-8446-9FB7-57B9DDF70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356CB-90B6-1346-B9F7-6642EF7395C2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1FA6A-772D-C243-B2A3-B0E0BD851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26832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70635E-0F46-AD42-AD4F-BE4BCC9D2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35" y="6356350"/>
            <a:ext cx="2743200" cy="365125"/>
          </a:xfrm>
        </p:spPr>
        <p:txBody>
          <a:bodyPr/>
          <a:lstStyle/>
          <a:p>
            <a:fld id="{777FC42F-A652-4948-84ED-31A8A4279A7D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71D96386-14F0-C64E-A1F8-5EB91E62AF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50993" y="427831"/>
            <a:ext cx="3881342" cy="329406"/>
          </a:xfrm>
        </p:spPr>
        <p:txBody>
          <a:bodyPr>
            <a:norm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36985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CB689-76D4-3443-BAF7-638BC7FD19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9365" y="1709739"/>
            <a:ext cx="10772969" cy="2092828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D55BB3-4B39-0741-9BEE-A11E2E69B6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9366" y="3802567"/>
            <a:ext cx="10772968" cy="2287083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288F75-7200-274E-865C-4BEED5F2E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356CB-90B6-1346-B9F7-6642EF7395C2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5950AD-5A27-FB47-9694-6088408DA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667FD6-499F-5D45-9FA8-4F72E0CF0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5580" y="6356350"/>
            <a:ext cx="2866754" cy="365125"/>
          </a:xfrm>
        </p:spPr>
        <p:txBody>
          <a:bodyPr/>
          <a:lstStyle/>
          <a:p>
            <a:fld id="{777FC42F-A652-4948-84ED-31A8A4279A7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B87940F5-970C-0540-8D89-A853463F0F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50993" y="427831"/>
            <a:ext cx="3881342" cy="329406"/>
          </a:xfrm>
        </p:spPr>
        <p:txBody>
          <a:bodyPr>
            <a:norm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47495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068A05-D8F1-5446-9772-EB91FB9DD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9365" y="1070518"/>
            <a:ext cx="10772969" cy="1612630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ADDF74-E796-2444-BE88-D86403FBB8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59366" y="3111189"/>
            <a:ext cx="4960434" cy="3065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A2AA53-B4F9-9C4A-A7D9-ED2A2DFF3E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3111189"/>
            <a:ext cx="5660134" cy="30657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0CD342-E10E-AE47-8726-D59C312310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356CB-90B6-1346-B9F7-6642EF7395C2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BD0709-9352-C540-AF98-F0AEBCA02F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329396-3125-1B4F-A1DB-84654A56C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5580" y="6356350"/>
            <a:ext cx="2866754" cy="365125"/>
          </a:xfrm>
        </p:spPr>
        <p:txBody>
          <a:bodyPr/>
          <a:lstStyle/>
          <a:p>
            <a:fld id="{777FC42F-A652-4948-84ED-31A8A4279A7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AA429EC-7CB3-7544-989D-E4B072380B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50993" y="427831"/>
            <a:ext cx="3881342" cy="329406"/>
          </a:xfrm>
        </p:spPr>
        <p:txBody>
          <a:bodyPr>
            <a:norm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39170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C7627-E4F7-D24A-A9BC-4E7F15734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9365" y="1150608"/>
            <a:ext cx="10772970" cy="68707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F7ABAA-A3B5-F24F-BCBC-9AC1613C5D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9366" y="1857375"/>
            <a:ext cx="4938209" cy="647700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8E29D5-691D-B24E-9FE0-4C1E15BEF4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9366" y="2505075"/>
            <a:ext cx="493820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252345-27B8-A647-A9E7-B171F579E6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857375"/>
            <a:ext cx="5660135" cy="647700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92A40F-3A0D-6840-93E9-51DBFA0576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660134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315C30-610E-474B-A6D9-B4D11D28DF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356CB-90B6-1346-B9F7-6642EF7395C2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04B4EFB-789A-F840-BD55-F2F5435A5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6576E60-5521-E847-8C6C-F8BD1109D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34" y="6356350"/>
            <a:ext cx="2743200" cy="365125"/>
          </a:xfrm>
        </p:spPr>
        <p:txBody>
          <a:bodyPr/>
          <a:lstStyle/>
          <a:p>
            <a:fld id="{777FC42F-A652-4948-84ED-31A8A4279A7D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DF19EDA7-F5E0-2142-9CDA-7C1BA93F6B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50993" y="427831"/>
            <a:ext cx="3881342" cy="329406"/>
          </a:xfrm>
        </p:spPr>
        <p:txBody>
          <a:bodyPr>
            <a:norm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959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D406DE-9F04-4761-B745-AA42CB128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683CD2-935F-4CAE-8B60-D78AF1C747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8E2E6B-AE78-4E8D-9B93-CAB3927EA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94876E-34AA-496C-9326-EF24EACD805B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C8524E-FC47-42F0-8B32-61A43C86F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93F4B6-41D2-4C3A-A932-7604B680E1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DF230-00B0-4B91-AF56-68EC33BBFE1E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3244489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6E1D61-FF57-8E42-A273-35A7EC912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8600" y="1357584"/>
            <a:ext cx="7670180" cy="47198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11B50A-C315-ED4A-B21B-2FBE4BB6C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356CB-90B6-1346-B9F7-6642EF7395C2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88884A-49E8-4C44-9BCE-1D50CAF80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69E3A2-88C7-3F4A-B3AA-6D69B9EBD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7FC42F-A652-4948-84ED-31A8A4279A7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67933165-6AD7-9C48-8B37-450343DB2E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50993" y="427831"/>
            <a:ext cx="3881342" cy="329406"/>
          </a:xfrm>
        </p:spPr>
        <p:txBody>
          <a:bodyPr>
            <a:norm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63943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E80DD0-69E8-7F47-9F67-4CD1E4A9E3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356CB-90B6-1346-B9F7-6642EF7395C2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A68C61-ACCD-2A47-9583-6D1F0EBC9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C4BF8A-7980-B342-BDAB-6A5FFEEB4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7FC42F-A652-4948-84ED-31A8A4279A7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4204200F-05BD-FB49-8F93-783D7E1CAA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50993" y="427831"/>
            <a:ext cx="3881342" cy="329406"/>
          </a:xfrm>
        </p:spPr>
        <p:txBody>
          <a:bodyPr>
            <a:norm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64106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6405EF-36D5-B14B-8CA1-F1F84ADEBB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182029"/>
            <a:ext cx="3932237" cy="1412315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9971A8-E9A0-5049-9AAF-6D473ADB93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7" y="1182029"/>
            <a:ext cx="6649147" cy="517432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3EB1F4-9F1D-0044-A179-095F9AEA2B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765501"/>
            <a:ext cx="3932237" cy="331632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976C72-C3EB-B843-842E-CE99E006BD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356CB-90B6-1346-B9F7-6642EF7395C2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962707-6DB9-2143-824C-8E0F936AA3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BB80D8-0E1F-EC4E-B590-A2F96A767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7FC42F-A652-4948-84ED-31A8A4279A7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D4892ADF-698A-B84D-96D2-822B1E0ECA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50993" y="427831"/>
            <a:ext cx="3881342" cy="329406"/>
          </a:xfrm>
        </p:spPr>
        <p:txBody>
          <a:bodyPr>
            <a:norm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1366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B3440-FAD8-ED47-A606-5345F34EE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182028"/>
            <a:ext cx="3932237" cy="1427821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20632F-CE65-B94C-90A5-3F8FD03FDB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7" y="1182029"/>
            <a:ext cx="6649147" cy="533572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DD0605-50F1-9A41-94D0-FFCD4B992E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765502"/>
            <a:ext cx="3932237" cy="326730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2DFE4E-D909-644B-A3B6-73ACEEC72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356CB-90B6-1346-B9F7-6642EF7395C2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AECF74-D8BA-E047-9989-F8349F293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B35061-28A8-2944-9D35-7201FF4BF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7FC42F-A652-4948-84ED-31A8A4279A7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32E394AB-6B94-A441-815A-48C25E4C27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50993" y="427831"/>
            <a:ext cx="3881342" cy="329406"/>
          </a:xfrm>
        </p:spPr>
        <p:txBody>
          <a:bodyPr>
            <a:norm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34234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82E54E-54DD-931D-830D-D323A0D720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8E5BBD-2210-7350-725A-1FBE546926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0C4FC8-DA96-A58D-47F9-BD34C20CC9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B95A27-078B-161E-2B6F-7621ECC09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AD60E8-EE98-0F6B-BEC1-9B354EFC2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4558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EC942C-A05A-806C-0578-C9A772859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8BE496-7B3F-8AE7-6BC4-AF66E94A38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6805E1-2ADA-C6CF-4DF2-802919B480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65C70A-092A-C294-8AD6-9A5174C1D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CEB44-D437-FA9B-77B1-8CAF7421F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8953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54E24-C85C-6E9A-13F2-3B46794DDC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6A39EF-09F3-98C8-0997-AA694B4E8D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1D92AD-D545-820C-6DB4-A4CC025B9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247B88-31C4-D714-1A08-9E3CF09C7A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CBCE05-E6DE-11F1-B709-6AE292C09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1295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13FD05-8401-3F79-F4E0-53D1713D1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64D21E-E2D5-4BDD-B96F-717962D98D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C625D3-60B5-C47A-5012-703DAEE9C6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4EF4D9-C259-8876-C58F-76264A53DF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3C97EC-004C-1D5E-E3AC-8AF4B8EE5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11A8E2-285C-6A47-1415-37DAED8DA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2238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F4D5C-16C2-2C06-BA66-A344A688B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63B953-338A-E9A9-4F30-AC5A2BCE11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147A40-992F-1D87-5D40-A77072B27A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FDCB48-9EDA-85B8-5F36-1C7B2264A68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BBD80E5-F9B0-D681-0AC5-0285602B17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C76C90-0971-D718-ACBE-04A5F1C0A1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E0888A-D9D7-BA67-85D0-5CF222E835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8486F36-2927-66BA-8356-A287497B2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3065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05C26-5390-FC40-955C-05271FDB6B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96485D-0835-B8F0-D0E2-7EC2E198A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038186-FC2B-CD33-4D8B-C845281EE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6D9740-98CF-F585-4551-59BF96847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35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55395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F96E10-8AFE-7BB1-52EF-C6723F561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D9F868-8148-2538-C24A-85F79E570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63CB67-D2E4-FC48-DCFA-CE09D512B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26845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9720DC-A1B5-6353-3F5B-6EC35F948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892D3-9944-68A6-E53B-25E60EFB30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7D14E-15D5-EB8D-27EA-B9B409E510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5A76B-3EB9-50ED-4C5A-0B3B60B7B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C92C36-4599-98C6-62CF-B5FB64480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EFAED6-C80B-B54F-18F1-1B0DDEBE6E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2603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4293C8-3470-EA6F-A03F-B0F45B7B99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64B135B-C112-7962-A054-4F152613F57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40C2A1-152A-1D16-455C-54FFDE8EAE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991500-3B8C-D074-16BF-6006E113C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D2CC7D-52DB-4341-34B6-3D531A532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836031-D39C-D281-1484-EAB1F6010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92821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5A255-79F3-0100-E904-C0CECB3BD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406B0C1-4AD8-0E16-8448-5D840872B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BD898A-103F-AAE3-8CCD-0C0C239DA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AE9987-6F37-85CD-A886-8B9069760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43346A-C8D8-6457-784A-7C06FAFC5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6419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537601-1938-BC9E-F18A-3A0606E579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9200A2-AAEE-E9F7-5E27-9F7ED8E128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695B45-E682-3393-9CE9-58C87C0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310ED2-76DA-563D-3735-219779286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21F470-CE73-8B44-C7C2-CE8C63D1D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2793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882744" cy="7298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999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B7360-C084-D846-AED8-C06AFEFD5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83327"/>
            <a:ext cx="10882745" cy="4493636"/>
          </a:xfrm>
          <a:prstGeom prst="rect">
            <a:avLst/>
          </a:prstGeom>
        </p:spPr>
        <p:txBody>
          <a:bodyPr/>
          <a:lstStyle>
            <a:lvl1pPr>
              <a:buSzPct val="80000"/>
              <a:buFont typeface="Wingdings" pitchFamily="2" charset="2"/>
              <a:buChar char="§"/>
              <a:defRPr sz="2500" baseline="0"/>
            </a:lvl1pPr>
            <a:lvl2pPr marL="800100" indent="-342900">
              <a:buSzPct val="60000"/>
              <a:buFont typeface="Arial" panose="020B0604020202020204" pitchFamily="34" charset="0"/>
              <a:buChar char="—"/>
              <a:defRPr sz="2500" baseline="0"/>
            </a:lvl2pPr>
            <a:lvl3pPr>
              <a:buSzPct val="60000"/>
              <a:buFont typeface="Arial" panose="020B0604020202020204" pitchFamily="34" charset="0"/>
              <a:buChar char="•"/>
              <a:defRPr sz="2500" baseline="0"/>
            </a:lvl3pPr>
            <a:lvl4pPr>
              <a:buSzPct val="60000"/>
              <a:buFont typeface="Wingdings" pitchFamily="2" charset="2"/>
              <a:buChar char="§"/>
              <a:defRPr sz="2800" baseline="0"/>
            </a:lvl4pPr>
            <a:lvl5pPr>
              <a:buSzPct val="60000"/>
              <a:buFont typeface="Wingdings" pitchFamily="2" charset="2"/>
              <a:buChar char="§"/>
              <a:defRPr sz="28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C0C8D-95BF-DA46-8962-2211D94EA8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94954"/>
            <a:ext cx="10882744" cy="54709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Subhead yello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9DFA2F-AB90-384E-A747-0BF903882E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665" y="1049586"/>
            <a:ext cx="11066836" cy="77323"/>
          </a:xfrm>
          <a:prstGeom prst="rect">
            <a:avLst/>
          </a:prstGeom>
        </p:spPr>
      </p:pic>
      <p:pic>
        <p:nvPicPr>
          <p:cNvPr id="8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48E3851A-5645-B8BB-BADB-1DA882231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0354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2A1F9-7F27-2194-A3F6-6D6E031E4B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B40D0C-554A-0A8B-F82F-385DB8C13D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EF545B-F8E9-75F0-8205-431923FAF3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D71FF-DC7E-080C-F0D6-322973401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2D507-DAF5-7B3A-E2FD-35AD83FF0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7461591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C5CE62-C82B-36E6-C35A-0F79413F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919FC0-24AE-CAB4-A1C1-D9AFBAE7F6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B9109D-5B42-A5DF-DF46-DB5B4B9ED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D36F52-3EBE-7B42-606F-637E396760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FADBD2-AC27-7D6A-389C-871D10ED2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5645189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17A418-0C41-2AD1-1A40-9C64A5D302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D5A450-75AA-E68A-2E45-A77624C7F2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44062-F74B-E6D1-06A9-99683BD40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C34DAC-A70E-7D32-EC17-4F3C3613F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33EEF7-8A3A-D724-0AE9-6B806103C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1704478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F77DE1-77FF-5746-57BB-C14BE0CB43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E7E71D-AA63-A15E-DCB5-3E7AE472B0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D09A60-08B1-7FD4-DB3A-AF4BBC0C2C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1E00DC-DD99-8D1B-4ECF-3AF05FF13A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09DE25-7862-B4BA-380C-5A3020139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F12464-3C99-56ED-3431-3282EFCB0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015980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rawing of a person&#10;&#10;Description automatically generated">
            <a:extLst>
              <a:ext uri="{FF2B5EF4-FFF2-40B4-BE49-F238E27FC236}">
                <a16:creationId xmlns:a16="http://schemas.microsoft.com/office/drawing/2014/main" id="{1BD738AC-CDEB-4F80-94A7-E9EDEFC141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280" y="6309360"/>
            <a:ext cx="1540764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2767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769815-4609-BE53-AD04-210BF0D6A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C0F704-67E7-DAC0-07CD-0FBED9CE02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326385-6F25-6B30-4F92-2F48D764D2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2FC6FE-60E2-0C3D-42C2-2F76364B3B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B12980-2811-3FDB-C1B4-37133031FA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328488-9C35-882A-0409-4365006C4C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483E255-BE37-B91D-B78C-C39BF68F2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580F56-41DA-395B-857D-3BA63871F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50700462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CD694-2122-D215-2FFC-ADE6A39A7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57C72D-E2DA-415F-F1CE-BA40B32FD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34772A-482D-FAC7-E7F3-FD89CA5C7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E454B9-E2C8-37DE-1AFF-EC06D68FD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0089867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583A0F-6D29-A74F-3627-278ECB4D71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EB615E-013C-68B0-1278-92A3B1ECC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A6882-9B8F-C9E2-6719-1E2858376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94192015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A4E786-D74C-E62E-4A87-84836119EB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2A004C-C4FD-7400-2DA8-7B53CF1FB7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B2B8B-FB3A-BD23-12E7-585490715B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2BD332-228C-97C8-7907-6052A828DD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B356E3-7835-1E2C-52B6-0D902406ED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775464-56E3-4536-E782-8FA1C9AA3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212120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1B2421-9D02-AC0C-89E7-DAD0D9B2BE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92AC000-96C3-B213-5040-108212E812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9EA6D7-A0A6-504E-D1EF-C48DF1D32C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6EF105-128F-360F-DA73-EB6719981F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D264E6-B273-D5AD-2910-A63E0047E8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228C79-9310-1ACA-81BA-70FB58C41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61642892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A85CFD-6EDD-E0AE-0C2D-B121596CE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5EF8FD-3256-7D46-FD10-3E9482C92F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E5EB90-E0A0-163D-E20D-8CE6B2C405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F3E2C-9799-1071-C930-7049A754A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99CE89-546F-F851-5362-41777A3BA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7715018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8F24829-FE0A-B140-02C0-BF559938DB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A5BEE3-A0B2-B8C1-A514-09CB4D7FA6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E7CDBC-FA18-E689-A05E-A4C4B4A660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86D3-03D1-4585-99E2-B77CAA41D53D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4E043A-0403-3F8B-FE8D-EE67B0437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D024DD-0F3B-E2B5-6C4B-9D590416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0786635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FEB4B4A-D3B3-404B-86BF-A24B36DEEEC2}"/>
              </a:ext>
            </a:extLst>
          </p:cNvPr>
          <p:cNvSpPr/>
          <p:nvPr userDrawn="1"/>
        </p:nvSpPr>
        <p:spPr>
          <a:xfrm>
            <a:off x="0" y="0"/>
            <a:ext cx="12192000" cy="57673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167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13314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.jpe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92DC55-D5BC-4329-9FB5-1347920A4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3AADC030-D5CB-4510-84FE-C68430415D4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40738A13-9DCF-4CA4-919B-EDC962585E0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9878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70" r:id="rId4"/>
    <p:sldLayoutId id="2147483671" r:id="rId5"/>
    <p:sldLayoutId id="2147483672" r:id="rId6"/>
    <p:sldLayoutId id="2147483681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rgbClr val="E2722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92DC55-D5BC-4329-9FB5-1347920A4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3AADC030-D5CB-4510-84FE-C68430415D4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40738A13-9DCF-4CA4-919B-EDC962585E0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1285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rgbClr val="E2722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AFAA94-0D1B-40E4-932D-2E5148069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F6C4D2-E8E8-4B3F-BD41-D2D75607BF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11430000" cy="4389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BDBE70-FDE9-4BE2-89B1-4643A1D6546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530" y="6168753"/>
            <a:ext cx="2033491" cy="300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158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ID4096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56B9A22-AF09-414E-9E26-1E1F5C7C55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71562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56B9A22-AF09-414E-9E26-1E1F5C7C5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A6196BD-EA81-4140-8073-9B13AB2A6497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27024B-CBE5-4648-B1AC-B66F9B9BF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861B95-58DC-4107-A038-20A02AE9E8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70B86E-9B44-42A1-BBBF-F850065885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9C6C86-516E-43E0-8C01-723A2A5FFE6F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6D62CB-52D4-4778-BA10-6D12F2CDCC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DC729-0F0D-42D3-A200-E3AAB88AAD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15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7" r:id="rId12"/>
    <p:sldLayoutId id="214748369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74A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invGray">
          <a:xfrm>
            <a:off x="480000" y="1800000"/>
            <a:ext cx="11232001" cy="4237200"/>
          </a:xfrm>
          <a:prstGeom prst="rect">
            <a:avLst/>
          </a:prstGeom>
        </p:spPr>
        <p:txBody>
          <a:bodyPr vert="horz" lIns="18000" tIns="0" rIns="1800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invGray">
          <a:xfrm>
            <a:off x="480000" y="6580588"/>
            <a:ext cx="79000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2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CB2A9C5F-569E-41BE-B5E5-7CBFE1B687B2}" type="datetime1">
              <a:rPr lang="en-GB" noProof="0" smtClean="0"/>
              <a:t>26/08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invGray">
          <a:xfrm>
            <a:off x="1392992" y="6580588"/>
            <a:ext cx="2264608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2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GB" noProof="0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invGray">
          <a:xfrm>
            <a:off x="11416433" y="6580588"/>
            <a:ext cx="28993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2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Rectangle 8"/>
          <p:cNvSpPr/>
          <p:nvPr userDrawn="1"/>
        </p:nvSpPr>
        <p:spPr bwMode="invGray">
          <a:xfrm>
            <a:off x="9735601" y="371958"/>
            <a:ext cx="1976400" cy="694800"/>
          </a:xfrm>
          <a:prstGeom prst="rect">
            <a:avLst/>
          </a:prstGeom>
          <a:blipFill dpi="0" rotWithShape="1">
            <a:blip r:embed="rId25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</p:spTree>
    <p:extLst>
      <p:ext uri="{BB962C8B-B14F-4D97-AF65-F5344CB8AC3E}">
        <p14:creationId xmlns:p14="http://schemas.microsoft.com/office/powerpoint/2010/main" val="592533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spcAft>
          <a:spcPts val="600"/>
        </a:spcAft>
        <a:buClr>
          <a:schemeClr val="bg1"/>
        </a:buClr>
        <a:buSzPct val="80000"/>
        <a:buFontTx/>
        <a:buNone/>
        <a:defRPr sz="1400" b="0" kern="1200">
          <a:solidFill>
            <a:schemeClr val="bg1"/>
          </a:solidFill>
          <a:latin typeface="+mn-lt"/>
          <a:ea typeface="+mn-ea"/>
          <a:cs typeface="Times New Roman" panose="02020603050405020304" pitchFamily="18" charset="0"/>
        </a:defRPr>
      </a:lvl1pPr>
      <a:lvl2pPr marL="466725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827087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3pPr>
      <a:lvl4pPr marL="1179513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Char char="•"/>
        <a:tabLst>
          <a:tab pos="1074738" algn="l"/>
        </a:tabLst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1616075" indent="-358775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062163" indent="-358775" algn="l" defTabSz="914400" rtl="0" eaLnBrk="1" latinLnBrk="0" hangingPunct="1">
        <a:lnSpc>
          <a:spcPct val="9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1">
          <p15:clr>
            <a:srgbClr val="F26B43"/>
          </p15:clr>
        </p15:guide>
        <p15:guide id="2" orient="horz" pos="3809">
          <p15:clr>
            <a:srgbClr val="F26B43"/>
          </p15:clr>
        </p15:guide>
        <p15:guide id="3" pos="3840">
          <p15:clr>
            <a:srgbClr val="F26B43"/>
          </p15:clr>
        </p15:guide>
        <p15:guide id="4" pos="302">
          <p15:clr>
            <a:srgbClr val="F26B43"/>
          </p15:clr>
        </p15:guide>
        <p15:guide id="5" pos="7379">
          <p15:clr>
            <a:srgbClr val="F26B43"/>
          </p15:clr>
        </p15:guide>
        <p15:guide id="6" pos="3761">
          <p15:clr>
            <a:srgbClr val="F26B43"/>
          </p15:clr>
        </p15:guide>
        <p15:guide id="7" pos="391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C6A4C5B-EEE0-6B77-C137-DB7F2509E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82E144-2ABC-C9D6-AB02-436956FEA9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40E78D-8A13-3DF7-C442-A2EB90F663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988077-C211-417B-A6F6-C216E22A514C}" type="datetimeFigureOut">
              <a:rPr lang="en-US" smtClean="0"/>
              <a:t>26/0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6CF969-FB68-F7DC-EB9F-1457D25441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85F7D5-E45A-B04A-8840-A93B87F4F7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478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0EF12D-4157-5BF2-73C1-C44AE864C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01C930-E79B-3BF2-A993-ACB13C74D8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65ECB5-ECD9-C075-AC25-78D4794BB6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83486D3-03D1-4585-99E2-B77CAA41D53D}" type="datetimeFigureOut">
              <a:rPr lang="en-CH" smtClean="0"/>
              <a:t>08/26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39270C-83BF-2E64-B545-0256232156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035373-D308-533D-81D8-7841659BDC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8BD187B-F88D-46E8-947E-87713E111D2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796247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19.emf"/><Relationship Id="rId5" Type="http://schemas.openxmlformats.org/officeDocument/2006/relationships/image" Target="../media/image18.emf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6.xml"/><Relationship Id="rId6" Type="http://schemas.openxmlformats.org/officeDocument/2006/relationships/chart" Target="../charts/chart1.xml"/><Relationship Id="rId5" Type="http://schemas.openxmlformats.org/officeDocument/2006/relationships/image" Target="../media/image26.emf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image" Target="../media/image2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25.png"/><Relationship Id="rId5" Type="http://schemas.openxmlformats.org/officeDocument/2006/relationships/image" Target="../media/image11.jpeg"/><Relationship Id="rId4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7" Type="http://schemas.openxmlformats.org/officeDocument/2006/relationships/image" Target="../media/image2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25.png"/><Relationship Id="rId5" Type="http://schemas.openxmlformats.org/officeDocument/2006/relationships/image" Target="../media/image11.jpeg"/><Relationship Id="rId4" Type="http://schemas.openxmlformats.org/officeDocument/2006/relationships/image" Target="../media/image2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0.jpg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Down Arrow 7">
            <a:extLst>
              <a:ext uri="{FF2B5EF4-FFF2-40B4-BE49-F238E27FC236}">
                <a16:creationId xmlns:a16="http://schemas.microsoft.com/office/drawing/2014/main" id="{D4771268-CB57-404A-9271-370EB28F60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800100" y="1491343"/>
            <a:ext cx="3333749" cy="3499103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5" name="Picture 3">
            <a:extLst>
              <a:ext uri="{FF2B5EF4-FFF2-40B4-BE49-F238E27FC236}">
                <a16:creationId xmlns:a16="http://schemas.microsoft.com/office/drawing/2014/main" id="{BC6EAD26-484B-45FA-A5EF-C6602D2001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37" y="6055632"/>
            <a:ext cx="1684337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image1.jpg">
            <a:extLst>
              <a:ext uri="{FF2B5EF4-FFF2-40B4-BE49-F238E27FC236}">
                <a16:creationId xmlns:a16="http://schemas.microsoft.com/office/drawing/2014/main" id="{732EFC19-670E-4757-9AC3-91F3C61DB4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08" b="19354"/>
          <a:stretch>
            <a:fillRect/>
          </a:stretch>
        </p:blipFill>
        <p:spPr bwMode="auto">
          <a:xfrm>
            <a:off x="146277" y="6047468"/>
            <a:ext cx="1684337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17C1CB2-04DA-4575-8105-A9525FC74E00}"/>
              </a:ext>
            </a:extLst>
          </p:cNvPr>
          <p:cNvSpPr txBox="1"/>
          <p:nvPr/>
        </p:nvSpPr>
        <p:spPr>
          <a:xfrm>
            <a:off x="0" y="0"/>
            <a:ext cx="12192000" cy="1039961"/>
          </a:xfrm>
          <a:prstGeom prst="rect">
            <a:avLst/>
          </a:prstGeom>
          <a:solidFill>
            <a:srgbClr val="00A695"/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sz="4000" dirty="0"/>
              <a:t>Global Men and HIV Technical Working Group (MENHT)</a:t>
            </a:r>
          </a:p>
          <a:p>
            <a:r>
              <a:rPr lang="en-US" sz="4000" dirty="0"/>
              <a:t>Webinar Series  - Episode #1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9F1F66-B0BD-4BD7-8CBF-C72357375E1A}"/>
              </a:ext>
            </a:extLst>
          </p:cNvPr>
          <p:cNvSpPr txBox="1"/>
          <p:nvPr/>
        </p:nvSpPr>
        <p:spPr>
          <a:xfrm>
            <a:off x="633984" y="4968071"/>
            <a:ext cx="341519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dirty="0">
                <a:latin typeface="+mj-lt"/>
                <a:cs typeface="Calibri" panose="020F0502020204030204" pitchFamily="34" charset="0"/>
              </a:rPr>
              <a:t>Date: 22 August 2024</a:t>
            </a:r>
          </a:p>
          <a:p>
            <a:r>
              <a:rPr lang="en-IN" sz="2400" dirty="0">
                <a:latin typeface="+mj-lt"/>
                <a:cs typeface="Calibri" panose="020F0502020204030204" pitchFamily="34" charset="0"/>
              </a:rPr>
              <a:t>Time: 14h00 – 15h00 CET</a:t>
            </a:r>
            <a:endParaRPr lang="en-US" sz="2400" dirty="0"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37DC720-CEE2-42E0-903D-EA0DF922FD54}"/>
              </a:ext>
            </a:extLst>
          </p:cNvPr>
          <p:cNvGrpSpPr/>
          <p:nvPr/>
        </p:nvGrpSpPr>
        <p:grpSpPr>
          <a:xfrm>
            <a:off x="4777316" y="1574019"/>
            <a:ext cx="6780700" cy="3813277"/>
            <a:chOff x="4777316" y="1574019"/>
            <a:chExt cx="6780700" cy="3813277"/>
          </a:xfrm>
        </p:grpSpPr>
        <p:pic>
          <p:nvPicPr>
            <p:cNvPr id="4" name="Picture 3" descr="A picture containing timeline&#10;&#10;Description automatically generated">
              <a:extLst>
                <a:ext uri="{FF2B5EF4-FFF2-40B4-BE49-F238E27FC236}">
                  <a16:creationId xmlns:a16="http://schemas.microsoft.com/office/drawing/2014/main" id="{6110FDA1-E5BA-4CB8-9525-A44B9F2F7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7316" y="1574019"/>
              <a:ext cx="6780700" cy="3813277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F596330-9678-49A9-AF06-16531A68029F}"/>
                </a:ext>
              </a:extLst>
            </p:cNvPr>
            <p:cNvSpPr/>
            <p:nvPr/>
          </p:nvSpPr>
          <p:spPr>
            <a:xfrm>
              <a:off x="9356952" y="4002194"/>
              <a:ext cx="1920648" cy="862113"/>
            </a:xfrm>
            <a:prstGeom prst="rect">
              <a:avLst/>
            </a:prstGeom>
            <a:solidFill>
              <a:srgbClr val="00A8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Let us all </a:t>
              </a:r>
              <a:r>
                <a:rPr lang="en-US" b="1" dirty="0">
                  <a:solidFill>
                    <a:schemeClr val="tx1"/>
                  </a:solidFill>
                </a:rPr>
                <a:t>engage</a:t>
              </a:r>
              <a:r>
                <a:rPr lang="en-US" b="1" dirty="0"/>
                <a:t> and have a good webinar 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4A8FF39D-044F-7405-B82B-D4BB868F7FE1}"/>
              </a:ext>
            </a:extLst>
          </p:cNvPr>
          <p:cNvSpPr/>
          <p:nvPr/>
        </p:nvSpPr>
        <p:spPr>
          <a:xfrm>
            <a:off x="7276912" y="4002193"/>
            <a:ext cx="1920648" cy="862113"/>
          </a:xfrm>
          <a:prstGeom prst="rect">
            <a:avLst/>
          </a:prstGeom>
          <a:solidFill>
            <a:srgbClr val="00A8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You will get </a:t>
            </a:r>
            <a:r>
              <a:rPr lang="en-US" b="1" dirty="0">
                <a:solidFill>
                  <a:schemeClr val="tx1"/>
                </a:solidFill>
              </a:rPr>
              <a:t>the recording </a:t>
            </a:r>
            <a:r>
              <a:rPr lang="en-US" b="1" dirty="0"/>
              <a:t>after the meeti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C7B31C8-1F50-0CCA-03EE-12096063A8FF}"/>
              </a:ext>
            </a:extLst>
          </p:cNvPr>
          <p:cNvSpPr/>
          <p:nvPr/>
        </p:nvSpPr>
        <p:spPr>
          <a:xfrm>
            <a:off x="9114854" y="2902800"/>
            <a:ext cx="1920648" cy="862113"/>
          </a:xfrm>
          <a:prstGeom prst="rect">
            <a:avLst/>
          </a:prstGeom>
          <a:solidFill>
            <a:srgbClr val="00A8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pic>
        <p:nvPicPr>
          <p:cNvPr id="7" name="Graphic 6" descr="Chat with solid fill">
            <a:extLst>
              <a:ext uri="{FF2B5EF4-FFF2-40B4-BE49-F238E27FC236}">
                <a16:creationId xmlns:a16="http://schemas.microsoft.com/office/drawing/2014/main" id="{2DFA90B1-86E8-A178-D022-6B8B7D10A7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61522" y="2891914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4EB60A8-3C36-DB0B-4547-A4FF2F6B2079}"/>
              </a:ext>
            </a:extLst>
          </p:cNvPr>
          <p:cNvSpPr txBox="1"/>
          <p:nvPr/>
        </p:nvSpPr>
        <p:spPr>
          <a:xfrm>
            <a:off x="5253135" y="5525087"/>
            <a:ext cx="532278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 dirty="0">
                <a:solidFill>
                  <a:srgbClr val="C00000"/>
                </a:solidFill>
                <a:cs typeface="Calibri" panose="020F0502020204030204" pitchFamily="34" charset="0"/>
              </a:rPr>
              <a:t>English</a:t>
            </a:r>
            <a:endParaRPr lang="en-US" sz="1600" b="1" dirty="0">
              <a:solidFill>
                <a:srgbClr val="C00000"/>
              </a:solidFill>
              <a:cs typeface="Calibri" panose="020F0502020204030204" pitchFamily="34" charset="0"/>
            </a:endParaRPr>
          </a:p>
        </p:txBody>
      </p:sp>
      <p:pic>
        <p:nvPicPr>
          <p:cNvPr id="12" name="Graphic 11" descr="Earth globe: Africa and Europe with solid fill">
            <a:extLst>
              <a:ext uri="{FF2B5EF4-FFF2-40B4-BE49-F238E27FC236}">
                <a16:creationId xmlns:a16="http://schemas.microsoft.com/office/drawing/2014/main" id="{C3FBCB5E-B3EE-375D-633F-F871CAB1A9D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49367" y="5468865"/>
            <a:ext cx="450998" cy="45099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0132EA4-6C50-1952-FAA2-2281598F5549}"/>
              </a:ext>
            </a:extLst>
          </p:cNvPr>
          <p:cNvSpPr txBox="1"/>
          <p:nvPr/>
        </p:nvSpPr>
        <p:spPr>
          <a:xfrm>
            <a:off x="717422" y="2825395"/>
            <a:ext cx="333175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24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Housekeeping and webinar resources</a:t>
            </a:r>
            <a:endParaRPr lang="en-US" sz="2400" b="1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6578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D80FBA4D-8917-3A59-8897-C653B1A90A88}"/>
              </a:ext>
            </a:extLst>
          </p:cNvPr>
          <p:cNvSpPr txBox="1">
            <a:spLocks/>
          </p:cNvSpPr>
          <p:nvPr/>
        </p:nvSpPr>
        <p:spPr bwMode="auto">
          <a:xfrm>
            <a:off x="0" y="-41850"/>
            <a:ext cx="12192000" cy="817577"/>
          </a:xfrm>
          <a:prstGeom prst="rect">
            <a:avLst/>
          </a:prstGeom>
          <a:solidFill>
            <a:srgbClr val="00A695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GLOBAL MEN AND HIV TECHNICAL WORKING GROUP WEBINAR #10</a:t>
            </a:r>
            <a:endParaRPr kumimoji="0" lang="LID4096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1A7AAE-D2DF-2353-497E-BE8930C0B0C9}"/>
              </a:ext>
            </a:extLst>
          </p:cNvPr>
          <p:cNvSpPr txBox="1"/>
          <p:nvPr/>
        </p:nvSpPr>
        <p:spPr>
          <a:xfrm>
            <a:off x="1899839" y="2444903"/>
            <a:ext cx="245040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 b="1" i="0" u="none" strike="noStrike" baseline="0">
                <a:solidFill>
                  <a:srgbClr val="00A593"/>
                </a:solidFill>
              </a:defRPr>
            </a:lvl1pPr>
          </a:lstStyle>
          <a:p>
            <a:pPr defTabSz="457200">
              <a:defRPr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Gift Dlamini (He/Him)</a:t>
            </a:r>
          </a:p>
          <a:p>
            <a:pPr defTabSz="457200">
              <a:defRPr/>
            </a:pPr>
            <a:r>
              <a:rPr lang="en-US" b="0" dirty="0" err="1">
                <a:solidFill>
                  <a:prstClr val="black"/>
                </a:solidFill>
                <a:latin typeface="Calibri" panose="020F0502020204030204"/>
              </a:rPr>
              <a:t>Programmes</a:t>
            </a:r>
            <a:r>
              <a:rPr lang="en-US" b="0" dirty="0">
                <a:solidFill>
                  <a:prstClr val="black"/>
                </a:solidFill>
                <a:latin typeface="Calibri" panose="020F0502020204030204"/>
              </a:rPr>
              <a:t> Manager at Kwakha Indvodza (The Male Mentoring </a:t>
            </a:r>
            <a:r>
              <a:rPr lang="en-US" b="0" dirty="0" err="1">
                <a:solidFill>
                  <a:prstClr val="black"/>
                </a:solidFill>
                <a:latin typeface="Calibri" panose="020F0502020204030204"/>
              </a:rPr>
              <a:t>Organisation</a:t>
            </a:r>
            <a:r>
              <a:rPr lang="en-US" b="0" dirty="0">
                <a:solidFill>
                  <a:prstClr val="black"/>
                </a:solidFill>
                <a:latin typeface="Calibri" panose="020F0502020204030204"/>
              </a:rPr>
              <a:t>) and member of </a:t>
            </a:r>
            <a:r>
              <a:rPr lang="en-US" b="0" dirty="0" err="1">
                <a:solidFill>
                  <a:prstClr val="black"/>
                </a:solidFill>
                <a:latin typeface="Calibri" panose="020F0502020204030204"/>
              </a:rPr>
              <a:t>MenEngage</a:t>
            </a:r>
            <a:r>
              <a:rPr lang="en-US" b="0" dirty="0">
                <a:solidFill>
                  <a:prstClr val="black"/>
                </a:solidFill>
                <a:latin typeface="Calibri" panose="020F0502020204030204"/>
              </a:rPr>
              <a:t>, Eswatini.</a:t>
            </a:r>
            <a:endParaRPr lang="en-CH" b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33F65FE-CBD0-0A13-01D2-6BE35AB25105}"/>
              </a:ext>
            </a:extLst>
          </p:cNvPr>
          <p:cNvSpPr txBox="1"/>
          <p:nvPr/>
        </p:nvSpPr>
        <p:spPr>
          <a:xfrm>
            <a:off x="1950147" y="4352847"/>
            <a:ext cx="240009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 b="0" i="0" u="none" strike="noStrike" baseline="0"/>
            </a:lvl1pPr>
          </a:lstStyle>
          <a:p>
            <a:pPr algn="l"/>
            <a:r>
              <a:rPr lang="en-US" b="1" dirty="0">
                <a:solidFill>
                  <a:prstClr val="black"/>
                </a:solidFill>
                <a:latin typeface="Calibri" panose="020F0502020204030204"/>
              </a:rPr>
              <a:t>Andrea Brizzi </a:t>
            </a:r>
          </a:p>
          <a:p>
            <a:pPr algn="l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PhD student at Imperial College</a:t>
            </a:r>
          </a:p>
          <a:p>
            <a:pPr algn="l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London, part of the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StatML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Program, UK</a:t>
            </a:r>
            <a:endParaRPr lang="en-CH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805AF3-F976-B76F-6D8B-DB1C72634100}"/>
              </a:ext>
            </a:extLst>
          </p:cNvPr>
          <p:cNvSpPr txBox="1"/>
          <p:nvPr/>
        </p:nvSpPr>
        <p:spPr>
          <a:xfrm>
            <a:off x="0" y="863016"/>
            <a:ext cx="565374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b="1" kern="100" spc="75" dirty="0">
                <a:solidFill>
                  <a:srgbClr val="595959"/>
                </a:solidFill>
                <a:cs typeface="Times New Roman" panose="02020603050405020304" pitchFamily="18" charset="0"/>
              </a:rPr>
              <a:t>Breaking Barriers and Bridging Gaps: Addressing Gender and Age Disparities in HIV Services for Men</a:t>
            </a:r>
            <a:endParaRPr lang="en-CH" sz="2400" b="1" kern="100" spc="75" dirty="0">
              <a:solidFill>
                <a:srgbClr val="595959"/>
              </a:solidFill>
              <a:cs typeface="Times New Roman" panose="02020603050405020304" pitchFamily="18" charset="0"/>
            </a:endParaRPr>
          </a:p>
        </p:txBody>
      </p:sp>
      <p:pic>
        <p:nvPicPr>
          <p:cNvPr id="5" name="image1.jpg">
            <a:extLst>
              <a:ext uri="{FF2B5EF4-FFF2-40B4-BE49-F238E27FC236}">
                <a16:creationId xmlns:a16="http://schemas.microsoft.com/office/drawing/2014/main" id="{233C8868-91FB-7D22-E753-E506E8BB3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08" b="19354"/>
          <a:stretch>
            <a:fillRect/>
          </a:stretch>
        </p:blipFill>
        <p:spPr bwMode="auto">
          <a:xfrm>
            <a:off x="171886" y="6109583"/>
            <a:ext cx="1571158" cy="698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E107EB7-3764-5BAE-035A-5C54E4CF45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6599" y="6243384"/>
            <a:ext cx="1543050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99BD14-6C75-DA52-C408-953C4DBF87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04111" y="775727"/>
            <a:ext cx="6475624" cy="52425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A37A7D6-1DAC-962C-6992-ED05215954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3644" y="2473003"/>
            <a:ext cx="1581396" cy="156058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FD0986F-3C7D-8D4C-6BCC-5C42677A77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3644" y="4352847"/>
            <a:ext cx="1571158" cy="1571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1642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3B46165-79E4-4480-8ACA-FBE9D3D5543F}"/>
              </a:ext>
            </a:extLst>
          </p:cNvPr>
          <p:cNvGrpSpPr/>
          <p:nvPr/>
        </p:nvGrpSpPr>
        <p:grpSpPr>
          <a:xfrm>
            <a:off x="0" y="0"/>
            <a:ext cx="12192000" cy="1660683"/>
            <a:chOff x="-512521" y="500623"/>
            <a:chExt cx="12363801" cy="1400206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48AF66D-ADF0-44BF-9104-851BCE7C4166}"/>
                </a:ext>
              </a:extLst>
            </p:cNvPr>
            <p:cNvSpPr txBox="1"/>
            <p:nvPr/>
          </p:nvSpPr>
          <p:spPr>
            <a:xfrm>
              <a:off x="-512521" y="500623"/>
              <a:ext cx="12363799" cy="802445"/>
            </a:xfrm>
            <a:prstGeom prst="rect">
              <a:avLst/>
            </a:prstGeom>
            <a:solidFill>
              <a:srgbClr val="00A695"/>
            </a:solidFill>
          </p:spPr>
          <p:txBody>
            <a:bodyPr vert="horz" lIns="91440" tIns="45720" rIns="91440" bIns="45720" rtlCol="0" anchor="ctr">
              <a:no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defRPr>
              </a:lvl1pPr>
            </a:lstStyle>
            <a:p>
              <a:r>
                <a:rPr lang="en-US" dirty="0"/>
                <a:t>Global Men and HIV Technical Working Group (MENHT)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582D7192-6B62-488E-A976-E7BAE2B97315}"/>
                </a:ext>
              </a:extLst>
            </p:cNvPr>
            <p:cNvSpPr txBox="1"/>
            <p:nvPr/>
          </p:nvSpPr>
          <p:spPr>
            <a:xfrm>
              <a:off x="-512520" y="1589426"/>
              <a:ext cx="12363800" cy="311403"/>
            </a:xfrm>
            <a:prstGeom prst="rect">
              <a:avLst/>
            </a:prstGeom>
            <a:noFill/>
          </p:spPr>
          <p:txBody>
            <a:bodyPr wrap="square" lIns="822960" tIns="0" rIns="0" bIns="0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400" b="1" dirty="0">
                  <a:solidFill>
                    <a:prstClr val="black"/>
                  </a:solidFill>
                </a:rPr>
                <a:t>March 24, 2021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9C904CD9-C388-471F-AAB6-3183DE0C08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9235" y="1660683"/>
            <a:ext cx="8280244" cy="45428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867EFB3-A4B4-4625-96AB-F44D15916D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8354" y="6144372"/>
            <a:ext cx="735959" cy="564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912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55C61F-C8F1-4977-8E1F-F16C0D9EA8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0" y="927977"/>
            <a:ext cx="6096000" cy="5061858"/>
          </a:xfrm>
        </p:spPr>
        <p:txBody>
          <a:bodyPr>
            <a:noAutofit/>
          </a:bodyPr>
          <a:lstStyle/>
          <a:p>
            <a:r>
              <a:rPr lang="en-US" sz="2400" dirty="0"/>
              <a:t>To </a:t>
            </a:r>
            <a:r>
              <a:rPr lang="en-US" sz="2400" b="1" dirty="0">
                <a:solidFill>
                  <a:srgbClr val="002060"/>
                </a:solidFill>
              </a:rPr>
              <a:t>coordinate</a:t>
            </a:r>
            <a:r>
              <a:rPr lang="en-US" sz="2400" dirty="0"/>
              <a:t> activities related to improving outcomes for men across HIV cascade and support advocacy efforts with global partners and key stakeholders</a:t>
            </a:r>
          </a:p>
          <a:p>
            <a:r>
              <a:rPr lang="en-US" sz="2400" dirty="0"/>
              <a:t>To </a:t>
            </a:r>
            <a:r>
              <a:rPr lang="en-US" sz="2400" b="1" dirty="0">
                <a:solidFill>
                  <a:srgbClr val="002060"/>
                </a:solidFill>
              </a:rPr>
              <a:t>support</a:t>
            </a:r>
            <a:r>
              <a:rPr lang="en-US" sz="2400" dirty="0"/>
              <a:t> </a:t>
            </a:r>
            <a:r>
              <a:rPr lang="en-US" sz="2400" b="1" dirty="0">
                <a:solidFill>
                  <a:srgbClr val="002060"/>
                </a:solidFill>
              </a:rPr>
              <a:t>development</a:t>
            </a:r>
            <a:r>
              <a:rPr lang="en-US" sz="2400" dirty="0"/>
              <a:t> of operational </a:t>
            </a:r>
            <a:r>
              <a:rPr lang="en-US" sz="2400" b="1" dirty="0">
                <a:solidFill>
                  <a:srgbClr val="002060"/>
                </a:solidFill>
              </a:rPr>
              <a:t>guidance</a:t>
            </a:r>
            <a:r>
              <a:rPr lang="en-US" sz="2400" dirty="0"/>
              <a:t> for improving HIV services for men including identifying interventions and review of technical documents</a:t>
            </a:r>
          </a:p>
          <a:p>
            <a:r>
              <a:rPr lang="en-US" sz="2400" dirty="0"/>
              <a:t>Identify, collect and </a:t>
            </a:r>
            <a:r>
              <a:rPr lang="en-US" sz="2400" b="1" dirty="0">
                <a:solidFill>
                  <a:srgbClr val="002060"/>
                </a:solidFill>
              </a:rPr>
              <a:t>share best practices</a:t>
            </a:r>
            <a:r>
              <a:rPr lang="en-US" sz="2400" dirty="0"/>
              <a:t>, case example and tools for reaching men</a:t>
            </a:r>
          </a:p>
          <a:p>
            <a:r>
              <a:rPr lang="en-US" sz="2400" dirty="0"/>
              <a:t>For </a:t>
            </a:r>
            <a:r>
              <a:rPr lang="en-US" sz="2400" b="1" dirty="0">
                <a:solidFill>
                  <a:srgbClr val="002060"/>
                </a:solidFill>
              </a:rPr>
              <a:t>dissemination</a:t>
            </a:r>
            <a:r>
              <a:rPr lang="en-US" sz="2400" dirty="0"/>
              <a:t> of </a:t>
            </a:r>
            <a:r>
              <a:rPr lang="en-US" sz="2400" b="1" dirty="0">
                <a:solidFill>
                  <a:srgbClr val="002060"/>
                </a:solidFill>
              </a:rPr>
              <a:t>guidance</a:t>
            </a:r>
            <a:r>
              <a:rPr lang="en-US" sz="2400" dirty="0"/>
              <a:t>, briefs and </a:t>
            </a:r>
            <a:r>
              <a:rPr lang="en-US" sz="2400" b="1" dirty="0">
                <a:solidFill>
                  <a:srgbClr val="002060"/>
                </a:solidFill>
              </a:rPr>
              <a:t>lessons learned </a:t>
            </a:r>
            <a:r>
              <a:rPr lang="en-US" sz="2400" dirty="0"/>
              <a:t>and support scale up of effective interventions including providing technical assistance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A9A75888-22E3-1D43-9112-DA02186070B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0"/>
            <a:ext cx="6096000" cy="4323404"/>
          </a:xfr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FA08948-2B6F-46B1-9D2D-8D7B2B3FBD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48588" y="3688075"/>
            <a:ext cx="2411412" cy="1148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60F281-4FF6-4617-A809-AC9C15ECF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bout MEN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1DC577-0A95-47D0-95D9-5F8DA763D46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>
            <a:normAutofit/>
          </a:bodyPr>
          <a:lstStyle/>
          <a:p>
            <a:pPr algn="ctr" defTabSz="945990" rtl="1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schemeClr val="bg1"/>
                </a:solidFill>
              </a:rPr>
              <a:t>A standing body of stakeholders and partners to support global and country engagement and galvanize action to mitigate the men gap</a:t>
            </a:r>
            <a:endParaRPr lang="en-GB" sz="1800" dirty="0">
              <a:solidFill>
                <a:schemeClr val="bg1"/>
              </a:solidFill>
            </a:endParaRPr>
          </a:p>
        </p:txBody>
      </p:sp>
      <p:pic>
        <p:nvPicPr>
          <p:cNvPr id="15" name="image1.jpg">
            <a:extLst>
              <a:ext uri="{FF2B5EF4-FFF2-40B4-BE49-F238E27FC236}">
                <a16:creationId xmlns:a16="http://schemas.microsoft.com/office/drawing/2014/main" id="{E9D229C9-FF71-4D59-B27F-B01A87A34A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08" b="19354"/>
          <a:stretch>
            <a:fillRect/>
          </a:stretch>
        </p:blipFill>
        <p:spPr bwMode="auto">
          <a:xfrm>
            <a:off x="171885" y="6109583"/>
            <a:ext cx="1684337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2B4DBED-BEC6-4FA0-901C-72CC1D5D03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6599" y="6195759"/>
            <a:ext cx="1543050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Graphic 18" descr="Presentation with checklist with solid fill">
            <a:extLst>
              <a:ext uri="{FF2B5EF4-FFF2-40B4-BE49-F238E27FC236}">
                <a16:creationId xmlns:a16="http://schemas.microsoft.com/office/drawing/2014/main" id="{2F382797-767E-4F9E-B0FE-4492E440E7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74759" y="1357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7466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C00987-BC27-566D-A270-3A5ECA44E8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67497"/>
            <a:ext cx="12192000" cy="643506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A594"/>
                </a:solidFill>
              </a:rPr>
              <a:t>Men are lagging on progress in the 95-95-95 targets</a:t>
            </a:r>
            <a:endParaRPr lang="en-CH" sz="3600" b="1" dirty="0">
              <a:solidFill>
                <a:srgbClr val="00A594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194E784-4000-E278-01FB-80B01681C831}"/>
              </a:ext>
            </a:extLst>
          </p:cNvPr>
          <p:cNvGrpSpPr/>
          <p:nvPr/>
        </p:nvGrpSpPr>
        <p:grpSpPr>
          <a:xfrm>
            <a:off x="8916620" y="6312280"/>
            <a:ext cx="3280003" cy="542912"/>
            <a:chOff x="8916620" y="6312280"/>
            <a:chExt cx="3280003" cy="542912"/>
          </a:xfrm>
        </p:grpSpPr>
        <p:pic>
          <p:nvPicPr>
            <p:cNvPr id="102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FDB80837-5FC2-3BA0-9E24-E004C506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916620" y="6380084"/>
              <a:ext cx="893443" cy="407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A blue and black logo&#10;&#10;Description automatically generated">
              <a:extLst>
                <a:ext uri="{FF2B5EF4-FFF2-40B4-BE49-F238E27FC236}">
                  <a16:creationId xmlns:a16="http://schemas.microsoft.com/office/drawing/2014/main" id="{83D18354-47E5-1CFE-4B2B-532FCD23FB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72882" y="6412853"/>
              <a:ext cx="1154933" cy="341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Picture 1">
              <a:extLst>
                <a:ext uri="{FF2B5EF4-FFF2-40B4-BE49-F238E27FC236}">
                  <a16:creationId xmlns:a16="http://schemas.microsoft.com/office/drawing/2014/main" id="{B2BCBB48-448E-F8B1-8654-92D4472A69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51956" y="6312280"/>
              <a:ext cx="944667" cy="5429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Rectangle 5">
            <a:extLst>
              <a:ext uri="{FF2B5EF4-FFF2-40B4-BE49-F238E27FC236}">
                <a16:creationId xmlns:a16="http://schemas.microsoft.com/office/drawing/2014/main" id="{6AF7EAC9-EC6F-6513-F755-AFDC7B9F1E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53293FA2-15C8-3428-16F4-AB0A48F45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001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BDB7434-2720-0797-9AF0-A2B3F7B55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953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44E3AABD-3E0D-1046-AAC3-25D2A8E4E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371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altLang="en-CH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kumimoji="0" lang="en-CH" altLang="en-CH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873F91-2DBA-0416-21DD-26BE692D3D7D}"/>
              </a:ext>
            </a:extLst>
          </p:cNvPr>
          <p:cNvSpPr txBox="1"/>
          <p:nvPr/>
        </p:nvSpPr>
        <p:spPr>
          <a:xfrm>
            <a:off x="115504" y="6380084"/>
            <a:ext cx="48030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Source</a:t>
            </a:r>
            <a:r>
              <a:rPr kumimoji="0" lang="en-CH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: Further analysis of UNAIDS epidemiological estimates, 2024</a:t>
            </a:r>
            <a:endParaRPr kumimoji="0" lang="en-CH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FFCED6E-08C6-4D98-BD9B-005182C437F3}"/>
              </a:ext>
            </a:extLst>
          </p:cNvPr>
          <p:cNvGraphicFramePr>
            <a:graphicFrameLocks/>
          </p:cNvGraphicFramePr>
          <p:nvPr/>
        </p:nvGraphicFramePr>
        <p:xfrm>
          <a:off x="120261" y="1469945"/>
          <a:ext cx="7153275" cy="4633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5A8D363-20D4-0261-7CBA-491A7F572DC1}"/>
              </a:ext>
            </a:extLst>
          </p:cNvPr>
          <p:cNvSpPr txBox="1"/>
          <p:nvPr/>
        </p:nvSpPr>
        <p:spPr>
          <a:xfrm>
            <a:off x="120261" y="1037408"/>
            <a:ext cx="80127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sting and treatment cascade among women and men, Global, 2023</a:t>
            </a:r>
            <a:endParaRPr kumimoji="0" lang="en-CH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625B884-6CE1-D1D7-184B-FF0618D8109F}"/>
              </a:ext>
            </a:extLst>
          </p:cNvPr>
          <p:cNvSpPr txBox="1"/>
          <p:nvPr/>
        </p:nvSpPr>
        <p:spPr>
          <a:xfrm>
            <a:off x="7352907" y="1561299"/>
            <a:ext cx="4718831" cy="3207964"/>
          </a:xfrm>
          <a:prstGeom prst="rect">
            <a:avLst/>
          </a:prstGeom>
        </p:spPr>
        <p:txBody>
          <a:bodyPr vert="horz" wrap="square" lIns="108745" tIns="54373" rIns="108745" bIns="54373" rtlCol="0">
            <a:spAutoFit/>
          </a:bodyPr>
          <a:lstStyle>
            <a:defPPr>
              <a:defRPr lang="en-CH"/>
            </a:defPPr>
            <a:lvl1pPr marR="0" lvl="0" indent="0" algn="just" defTabSz="543818" fontAlgn="auto">
              <a:lnSpc>
                <a:spcPts val="185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sz="1300" b="0" i="0" u="none" strike="noStrike" cap="none" spc="0" normalizeH="0" baseline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285750" marR="0" lvl="0" indent="-285750" algn="just" defTabSz="543818" rtl="0" eaLnBrk="1" fontAlgn="auto" latinLnBrk="0" hangingPunct="1">
              <a:lnSpc>
                <a:spcPts val="185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</a:rPr>
              <a:t>M</a:t>
            </a:r>
            <a:r>
              <a:rPr kumimoji="0" lang="en-CH" sz="14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</a:rPr>
              <a:t>en are consistently falling behind in achieving the 95-95-95 targets compared to women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727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</a:endParaRPr>
          </a:p>
          <a:p>
            <a:pPr marL="285750" marR="0" lvl="0" indent="-285750" algn="just" defTabSz="543818" rtl="0" eaLnBrk="1" fontAlgn="auto" latinLnBrk="0" hangingPunct="1">
              <a:lnSpc>
                <a:spcPts val="185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727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</a:endParaRPr>
          </a:p>
          <a:p>
            <a:pPr marL="644525" marR="0" lvl="1" indent="-285750" algn="l" defTabSz="1087636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CH" sz="14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Onl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83</a:t>
            </a:r>
            <a:r>
              <a:rPr kumimoji="0" lang="en-CH" sz="14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%</a:t>
            </a:r>
            <a:r>
              <a:rPr kumimoji="0" lang="en-CH" sz="14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 of men living with HIV know their status,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 </a:t>
            </a:r>
          </a:p>
          <a:p>
            <a:pPr marL="644525" marR="0" lvl="1" indent="-285750" algn="l" defTabSz="1087636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CH" sz="14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7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2</a:t>
            </a:r>
            <a:r>
              <a:rPr kumimoji="0" lang="en-CH" sz="14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%</a:t>
            </a:r>
            <a:r>
              <a:rPr kumimoji="0" lang="en-CH" sz="14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 are on treatment, a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 </a:t>
            </a:r>
          </a:p>
          <a:p>
            <a:pPr marL="644525" marR="0" lvl="1" indent="-285750" algn="l" defTabSz="1087636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CH" sz="14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6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7</a:t>
            </a:r>
            <a:r>
              <a:rPr kumimoji="0" lang="en-CH" sz="14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%</a:t>
            </a:r>
            <a:r>
              <a:rPr kumimoji="0" lang="en-CH" sz="14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Open Sans"/>
              </a:rPr>
              <a:t> are virally suppresse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72727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Open Sans"/>
            </a:endParaRPr>
          </a:p>
          <a:p>
            <a:pPr marL="1087636" marR="0" lvl="1" indent="0" algn="ctr" defTabSz="1087636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CH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Open Sans"/>
              <a:ea typeface="+mn-ea"/>
              <a:cs typeface="Open Sans"/>
            </a:endParaRPr>
          </a:p>
          <a:p>
            <a:pPr marL="285750" marR="0" lvl="0" indent="-285750" algn="just" defTabSz="543818" rtl="0" eaLnBrk="1" fontAlgn="auto" latinLnBrk="0" hangingPunct="1">
              <a:lnSpc>
                <a:spcPts val="185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H" sz="14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</a:rPr>
              <a:t>This gap highlights the urgent need for targeted interventions to better engage men in HIV testing, treatment, and care services.</a:t>
            </a:r>
          </a:p>
        </p:txBody>
      </p:sp>
    </p:spTree>
    <p:extLst>
      <p:ext uri="{BB962C8B-B14F-4D97-AF65-F5344CB8AC3E}">
        <p14:creationId xmlns:p14="http://schemas.microsoft.com/office/powerpoint/2010/main" val="7242925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BC9E9FB-C893-F6CE-9B51-89702FF8DBF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62564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A59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Regions show differential men lag in progress towards the 95-95-95 targets</a:t>
            </a:r>
            <a:endParaRPr kumimoji="0" lang="en-CH" sz="2800" b="1" i="0" u="none" strike="noStrike" kern="1200" cap="none" spc="0" normalizeH="0" baseline="0" noProof="0" dirty="0">
              <a:ln>
                <a:noFill/>
              </a:ln>
              <a:solidFill>
                <a:srgbClr val="00A594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9368BE3-7DC2-ED9C-BE75-8B39C310C913}"/>
              </a:ext>
            </a:extLst>
          </p:cNvPr>
          <p:cNvGraphicFramePr>
            <a:graphicFrameLocks/>
          </p:cNvGraphicFramePr>
          <p:nvPr/>
        </p:nvGraphicFramePr>
        <p:xfrm>
          <a:off x="856146" y="1064393"/>
          <a:ext cx="9750894" cy="5076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716EDEF-9B25-5FB6-E69B-9889D882690E}"/>
              </a:ext>
            </a:extLst>
          </p:cNvPr>
          <p:cNvSpPr txBox="1"/>
          <p:nvPr/>
        </p:nvSpPr>
        <p:spPr>
          <a:xfrm>
            <a:off x="115504" y="6441169"/>
            <a:ext cx="48030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Source</a:t>
            </a:r>
            <a:r>
              <a:rPr kumimoji="0" lang="en-CH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: Further analysis of UNAIDS epidemiological estimates, 2024</a:t>
            </a:r>
            <a:endParaRPr kumimoji="0" lang="en-CH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E2FD2B1-D3E1-CC3A-A482-27409A42B02A}"/>
              </a:ext>
            </a:extLst>
          </p:cNvPr>
          <p:cNvGrpSpPr/>
          <p:nvPr/>
        </p:nvGrpSpPr>
        <p:grpSpPr>
          <a:xfrm>
            <a:off x="7758987" y="6255130"/>
            <a:ext cx="4342386" cy="542912"/>
            <a:chOff x="7854237" y="6312280"/>
            <a:chExt cx="4342386" cy="542912"/>
          </a:xfrm>
        </p:grpSpPr>
        <p:pic>
          <p:nvPicPr>
            <p:cNvPr id="4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E1A6006A-1133-5583-F4C4-ABF05F6818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B5C8A103-3EDD-CDF6-7E11-6775C5980E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916620" y="6380084"/>
              <a:ext cx="893443" cy="407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 descr="A blue and black logo&#10;&#10;Description automatically generated">
              <a:extLst>
                <a:ext uri="{FF2B5EF4-FFF2-40B4-BE49-F238E27FC236}">
                  <a16:creationId xmlns:a16="http://schemas.microsoft.com/office/drawing/2014/main" id="{B7C8B14B-8CC3-82E4-9CD5-1B1ADC875C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72882" y="6412853"/>
              <a:ext cx="1154933" cy="341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1">
              <a:extLst>
                <a:ext uri="{FF2B5EF4-FFF2-40B4-BE49-F238E27FC236}">
                  <a16:creationId xmlns:a16="http://schemas.microsoft.com/office/drawing/2014/main" id="{8A5877FA-6116-A52C-BE5C-F8427D4BA6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51956" y="6312280"/>
              <a:ext cx="944667" cy="5429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782592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BC9E9FB-C893-F6CE-9B51-89702FF8DBF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62564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A594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Absolute numbers of undiagnosed men by region</a:t>
            </a:r>
            <a:endParaRPr kumimoji="0" lang="en-CH" sz="2800" b="1" i="0" u="none" strike="noStrike" kern="1200" cap="none" spc="0" normalizeH="0" baseline="0" noProof="0" dirty="0">
              <a:ln>
                <a:noFill/>
              </a:ln>
              <a:solidFill>
                <a:srgbClr val="00A594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9EA8362F-4AE3-F71A-EE48-6FDC60F9E036}"/>
              </a:ext>
            </a:extLst>
          </p:cNvPr>
          <p:cNvGraphicFramePr>
            <a:graphicFrameLocks/>
          </p:cNvGraphicFramePr>
          <p:nvPr/>
        </p:nvGraphicFramePr>
        <p:xfrm>
          <a:off x="490537" y="1251284"/>
          <a:ext cx="7565808" cy="455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3F65674-E3F5-4BC0-A9A9-818A1AB190F2}"/>
              </a:ext>
            </a:extLst>
          </p:cNvPr>
          <p:cNvSpPr txBox="1"/>
          <p:nvPr/>
        </p:nvSpPr>
        <p:spPr>
          <a:xfrm>
            <a:off x="115504" y="6380084"/>
            <a:ext cx="48030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Source</a:t>
            </a:r>
            <a:r>
              <a:rPr kumimoji="0" lang="en-CH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: Further analysis of UNAIDS epidemiological estimates, 2024</a:t>
            </a:r>
            <a:endParaRPr kumimoji="0" lang="en-CH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1508F1A-5637-E6E5-E608-A9D062AAD966}"/>
              </a:ext>
            </a:extLst>
          </p:cNvPr>
          <p:cNvGrpSpPr/>
          <p:nvPr/>
        </p:nvGrpSpPr>
        <p:grpSpPr>
          <a:xfrm>
            <a:off x="7768512" y="6236080"/>
            <a:ext cx="4342386" cy="542912"/>
            <a:chOff x="7854237" y="6312280"/>
            <a:chExt cx="4342386" cy="542912"/>
          </a:xfrm>
        </p:grpSpPr>
        <p:pic>
          <p:nvPicPr>
            <p:cNvPr id="7" name="Picture 4" descr="Logo, company name&#10;&#10;Description automatically generated">
              <a:extLst>
                <a:ext uri="{FF2B5EF4-FFF2-40B4-BE49-F238E27FC236}">
                  <a16:creationId xmlns:a16="http://schemas.microsoft.com/office/drawing/2014/main" id="{A761304D-373C-0FF3-80FC-6CF6520D5A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4237" y="6345617"/>
              <a:ext cx="899563" cy="47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image1.jpg" descr="A logo with a red and black text&#10;&#10;Description automatically generated">
              <a:extLst>
                <a:ext uri="{FF2B5EF4-FFF2-40B4-BE49-F238E27FC236}">
                  <a16:creationId xmlns:a16="http://schemas.microsoft.com/office/drawing/2014/main" id="{9152CD4A-F368-A334-7F22-EEC51644AE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8" b="19354"/>
            <a:stretch>
              <a:fillRect/>
            </a:stretch>
          </p:blipFill>
          <p:spPr bwMode="auto">
            <a:xfrm>
              <a:off x="8916620" y="6380084"/>
              <a:ext cx="893443" cy="407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 descr="A blue and black logo&#10;&#10;Description automatically generated">
              <a:extLst>
                <a:ext uri="{FF2B5EF4-FFF2-40B4-BE49-F238E27FC236}">
                  <a16:creationId xmlns:a16="http://schemas.microsoft.com/office/drawing/2014/main" id="{91B8D2D3-F439-EE06-ABAE-B0797197E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72882" y="6412853"/>
              <a:ext cx="1154933" cy="341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">
              <a:extLst>
                <a:ext uri="{FF2B5EF4-FFF2-40B4-BE49-F238E27FC236}">
                  <a16:creationId xmlns:a16="http://schemas.microsoft.com/office/drawing/2014/main" id="{75D263D8-B92E-3C44-3659-0DA74F10BE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51956" y="6312280"/>
              <a:ext cx="944667" cy="5429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783036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AE420B5-58B7-4BB1-9941-6C57547AF5C2}"/>
              </a:ext>
            </a:extLst>
          </p:cNvPr>
          <p:cNvSpPr/>
          <p:nvPr/>
        </p:nvSpPr>
        <p:spPr>
          <a:xfrm>
            <a:off x="4502426" y="0"/>
            <a:ext cx="7689574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0A351BB-AB54-4D3A-9764-64396FD6BC48}"/>
              </a:ext>
            </a:extLst>
          </p:cNvPr>
          <p:cNvSpPr txBox="1">
            <a:spLocks/>
          </p:cNvSpPr>
          <p:nvPr/>
        </p:nvSpPr>
        <p:spPr bwMode="auto">
          <a:xfrm>
            <a:off x="1348740" y="192448"/>
            <a:ext cx="2394432" cy="411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6000" kern="1200">
                <a:solidFill>
                  <a:srgbClr val="E2722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80F10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</a:rPr>
              <a:t>Webinar outlin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0D93234-5777-4D21-A454-DFBA27B98A62}"/>
              </a:ext>
            </a:extLst>
          </p:cNvPr>
          <p:cNvGrpSpPr/>
          <p:nvPr/>
        </p:nvGrpSpPr>
        <p:grpSpPr>
          <a:xfrm>
            <a:off x="4937760" y="361649"/>
            <a:ext cx="7145382" cy="615553"/>
            <a:chOff x="5715000" y="1595095"/>
            <a:chExt cx="5745907" cy="61555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6CC4AE9-B850-4A63-BDEF-3713379B3497}"/>
                </a:ext>
              </a:extLst>
            </p:cNvPr>
            <p:cNvSpPr txBox="1"/>
            <p:nvPr/>
          </p:nvSpPr>
          <p:spPr>
            <a:xfrm>
              <a:off x="6317407" y="1795892"/>
              <a:ext cx="51435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elcome and introductions – </a:t>
              </a:r>
              <a:r>
                <a:rPr lang="en-US" sz="1800" b="1" dirty="0">
                  <a:solidFill>
                    <a:schemeClr val="accent1"/>
                  </a:solidFill>
                </a:rPr>
                <a:t>Lycias Zembe, GPC, UNAID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76BC020-3094-4BC1-93D0-DE08A60F4D2A}"/>
                </a:ext>
              </a:extLst>
            </p:cNvPr>
            <p:cNvSpPr txBox="1"/>
            <p:nvPr/>
          </p:nvSpPr>
          <p:spPr>
            <a:xfrm>
              <a:off x="5715000" y="1595095"/>
              <a:ext cx="396240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  <a:endPara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70C8B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9284CA8-15DB-43D9-AE75-514291C2BEA5}"/>
              </a:ext>
            </a:extLst>
          </p:cNvPr>
          <p:cNvGrpSpPr/>
          <p:nvPr/>
        </p:nvGrpSpPr>
        <p:grpSpPr>
          <a:xfrm>
            <a:off x="4937760" y="1199793"/>
            <a:ext cx="7165613" cy="615553"/>
            <a:chOff x="5715000" y="3184270"/>
            <a:chExt cx="5744007" cy="6155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CDB2E92-6E5B-47C5-9E5E-2741A9225E5F}"/>
                </a:ext>
              </a:extLst>
            </p:cNvPr>
            <p:cNvSpPr txBox="1"/>
            <p:nvPr/>
          </p:nvSpPr>
          <p:spPr>
            <a:xfrm>
              <a:off x="6315507" y="3337001"/>
              <a:ext cx="51435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800" dirty="0">
                  <a:solidFill>
                    <a:prstClr val="white"/>
                  </a:solidFill>
                  <a:latin typeface="Calibri"/>
                </a:rPr>
                <a:t>Men and HIV Dialogues – </a:t>
              </a:r>
              <a:r>
                <a:rPr lang="en-US" sz="1800" b="1" dirty="0">
                  <a:solidFill>
                    <a:schemeClr val="accent1"/>
                  </a:solidFill>
                </a:rPr>
                <a:t>Gift Dlamini, Kwakha Indvodza, Eswatini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7EFF3C3-E2E8-41EA-AFCE-A9D6E5762E81}"/>
                </a:ext>
              </a:extLst>
            </p:cNvPr>
            <p:cNvSpPr txBox="1"/>
            <p:nvPr/>
          </p:nvSpPr>
          <p:spPr>
            <a:xfrm>
              <a:off x="5715000" y="3184270"/>
              <a:ext cx="396240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  <a:endPara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70C8B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15F2BBA-CCA5-43BF-97DE-F4AD8ABCE70B}"/>
              </a:ext>
            </a:extLst>
          </p:cNvPr>
          <p:cNvSpPr txBox="1"/>
          <p:nvPr/>
        </p:nvSpPr>
        <p:spPr>
          <a:xfrm>
            <a:off x="5638534" y="2009780"/>
            <a:ext cx="6497682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/>
            <a:r>
              <a:rPr lang="en-US" sz="1800" dirty="0">
                <a:solidFill>
                  <a:prstClr val="white"/>
                </a:solidFill>
                <a:latin typeface="Calibri"/>
              </a:rPr>
              <a:t>Examining Age and Gender Profiles of Viraemia: The Increasing Role of Men in African Populations with High Antiretroviral Therapy (ART) Coverage – </a:t>
            </a:r>
            <a:r>
              <a:rPr lang="en-US" sz="1800" b="1" dirty="0">
                <a:solidFill>
                  <a:schemeClr val="accent1"/>
                </a:solidFill>
              </a:rPr>
              <a:t>Andrea Brizzi, Imperial College London, U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96F02E-321B-4CE1-88FB-B1A17F0A018B}"/>
              </a:ext>
            </a:extLst>
          </p:cNvPr>
          <p:cNvSpPr txBox="1"/>
          <p:nvPr/>
        </p:nvSpPr>
        <p:spPr>
          <a:xfrm>
            <a:off x="4937760" y="1989295"/>
            <a:ext cx="39624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00000"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70C8B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05A786D-3EF9-4AE6-AE66-F6436089E5A5}"/>
              </a:ext>
            </a:extLst>
          </p:cNvPr>
          <p:cNvGrpSpPr/>
          <p:nvPr/>
        </p:nvGrpSpPr>
        <p:grpSpPr>
          <a:xfrm>
            <a:off x="4948644" y="3816797"/>
            <a:ext cx="7032892" cy="615553"/>
            <a:chOff x="5715000" y="1623477"/>
            <a:chExt cx="5702927" cy="739208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D27A65E-E038-46B8-AECE-FEB1E3F92394}"/>
                </a:ext>
              </a:extLst>
            </p:cNvPr>
            <p:cNvSpPr txBox="1"/>
            <p:nvPr/>
          </p:nvSpPr>
          <p:spPr>
            <a:xfrm>
              <a:off x="6274427" y="1824654"/>
              <a:ext cx="5143500" cy="3326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losing remarks – </a:t>
              </a:r>
              <a:r>
                <a:rPr lang="en-US" sz="1800" b="1" dirty="0">
                  <a:solidFill>
                    <a:schemeClr val="accent1"/>
                  </a:solidFill>
                </a:rPr>
                <a:t>Wole Ameyan, WHO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45B761E-782F-4C53-83D0-89E7405D7836}"/>
                </a:ext>
              </a:extLst>
            </p:cNvPr>
            <p:cNvSpPr txBox="1"/>
            <p:nvPr/>
          </p:nvSpPr>
          <p:spPr>
            <a:xfrm>
              <a:off x="5715000" y="1623477"/>
              <a:ext cx="396240" cy="73920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None/>
                <a:tabLst/>
                <a:defRPr/>
              </a:pPr>
              <a:r>
                <a:rPr lang="en-US" sz="4000" b="1" dirty="0">
                  <a:solidFill>
                    <a:prstClr val="white"/>
                  </a:solidFill>
                  <a:latin typeface="Calibri"/>
                </a:rPr>
                <a:t>6</a:t>
              </a:r>
              <a:endPara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70C8B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" name="Graphic 2" descr="Projector outline">
            <a:extLst>
              <a:ext uri="{FF2B5EF4-FFF2-40B4-BE49-F238E27FC236}">
                <a16:creationId xmlns:a16="http://schemas.microsoft.com/office/drawing/2014/main" id="{6BE536AB-065A-4A90-A78B-AB15D65F82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2880" y="-88429"/>
            <a:ext cx="914400" cy="914400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92119AC1-E488-4A07-9F6F-1F357162679A}"/>
              </a:ext>
            </a:extLst>
          </p:cNvPr>
          <p:cNvGrpSpPr/>
          <p:nvPr/>
        </p:nvGrpSpPr>
        <p:grpSpPr>
          <a:xfrm>
            <a:off x="4961890" y="3111073"/>
            <a:ext cx="7121252" cy="701797"/>
            <a:chOff x="5715000" y="5220881"/>
            <a:chExt cx="5673095" cy="701797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8921E0C-2213-48F7-B389-B04E0AFCA127}"/>
                </a:ext>
              </a:extLst>
            </p:cNvPr>
            <p:cNvSpPr txBox="1"/>
            <p:nvPr/>
          </p:nvSpPr>
          <p:spPr>
            <a:xfrm>
              <a:off x="6244595" y="5368680"/>
              <a:ext cx="5143500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Questions and discussions – </a:t>
              </a:r>
              <a:r>
                <a:rPr lang="en-US" sz="1800" b="1" dirty="0">
                  <a:solidFill>
                    <a:schemeClr val="accent1"/>
                  </a:solidFill>
                </a:rPr>
                <a:t>All, Facilitated by Afsar Mohammad Syed, ILO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49102B2-3E81-4A33-965D-EE942A946316}"/>
                </a:ext>
              </a:extLst>
            </p:cNvPr>
            <p:cNvSpPr txBox="1"/>
            <p:nvPr/>
          </p:nvSpPr>
          <p:spPr>
            <a:xfrm>
              <a:off x="5715000" y="5220881"/>
              <a:ext cx="396240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None/>
                <a:tabLst/>
                <a:defRPr/>
              </a:pPr>
              <a:r>
                <a:rPr lang="en-US" sz="4000" b="1" dirty="0">
                  <a:solidFill>
                    <a:prstClr val="white"/>
                  </a:solidFill>
                  <a:latin typeface="Calibri"/>
                </a:rPr>
                <a:t>5</a:t>
              </a:r>
              <a:endPara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70C8B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" name="Picture 1" descr="A cartoon of a person looking up&#10;&#10;Description automatically generated">
            <a:extLst>
              <a:ext uri="{FF2B5EF4-FFF2-40B4-BE49-F238E27FC236}">
                <a16:creationId xmlns:a16="http://schemas.microsoft.com/office/drawing/2014/main" id="{94E7F474-241F-573A-EFE9-DE446A17AE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30" y="787340"/>
            <a:ext cx="4409033" cy="5174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774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310;p40">
            <a:extLst>
              <a:ext uri="{FF2B5EF4-FFF2-40B4-BE49-F238E27FC236}">
                <a16:creationId xmlns:a16="http://schemas.microsoft.com/office/drawing/2014/main" id="{19CF327E-B987-4E38-B565-49DC37E67B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-2"/>
            <a:ext cx="12192000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lIns="91425" tIns="91425" rIns="91425" bIns="9142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400">
              <a:spcBef>
                <a:spcPct val="0"/>
              </a:spcBef>
              <a:buFontTx/>
              <a:buNone/>
            </a:pPr>
            <a:endParaRPr lang="en-US" altLang="en-US" sz="1800" b="1" dirty="0">
              <a:solidFill>
                <a:schemeClr val="bg1"/>
              </a:solidFill>
            </a:endParaRPr>
          </a:p>
        </p:txBody>
      </p:sp>
      <p:sp>
        <p:nvSpPr>
          <p:cNvPr id="48" name="Oval 47"/>
          <p:cNvSpPr/>
          <p:nvPr/>
        </p:nvSpPr>
        <p:spPr>
          <a:xfrm>
            <a:off x="6927016" y="2714752"/>
            <a:ext cx="1576888" cy="1576888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  <a:alpha val="2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5490903" y="251329"/>
            <a:ext cx="4945143" cy="5529845"/>
            <a:chOff x="5567315" y="639809"/>
            <a:chExt cx="4945143" cy="5529845"/>
          </a:xfrm>
        </p:grpSpPr>
        <p:grpSp>
          <p:nvGrpSpPr>
            <p:cNvPr id="29" name="Group 28"/>
            <p:cNvGrpSpPr/>
            <p:nvPr/>
          </p:nvGrpSpPr>
          <p:grpSpPr>
            <a:xfrm>
              <a:off x="6247117" y="680310"/>
              <a:ext cx="3778404" cy="5489344"/>
              <a:chOff x="3852093" y="658212"/>
              <a:chExt cx="3532820" cy="5132554"/>
            </a:xfrm>
          </p:grpSpPr>
          <p:sp>
            <p:nvSpPr>
              <p:cNvPr id="14" name="Oval 13"/>
              <p:cNvSpPr/>
              <p:nvPr/>
            </p:nvSpPr>
            <p:spPr>
              <a:xfrm>
                <a:off x="4692292" y="1340494"/>
                <a:ext cx="675249" cy="675249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4486097" y="963640"/>
                <a:ext cx="478302" cy="478302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5305904" y="1331349"/>
                <a:ext cx="365760" cy="36576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4067100" y="1207240"/>
                <a:ext cx="618978" cy="618978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0" name="Oval 19"/>
              <p:cNvSpPr/>
              <p:nvPr/>
            </p:nvSpPr>
            <p:spPr>
              <a:xfrm>
                <a:off x="6798229" y="1980242"/>
                <a:ext cx="586684" cy="58668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2" name="Oval 21"/>
              <p:cNvSpPr/>
              <p:nvPr/>
            </p:nvSpPr>
            <p:spPr>
              <a:xfrm>
                <a:off x="5684054" y="3025413"/>
                <a:ext cx="815926" cy="815926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4" name="Oval 23"/>
              <p:cNvSpPr/>
              <p:nvPr/>
            </p:nvSpPr>
            <p:spPr>
              <a:xfrm>
                <a:off x="6200496" y="1826218"/>
                <a:ext cx="658522" cy="658522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5" name="Oval 24"/>
              <p:cNvSpPr/>
              <p:nvPr/>
            </p:nvSpPr>
            <p:spPr>
              <a:xfrm>
                <a:off x="5368922" y="3251393"/>
                <a:ext cx="544446" cy="544446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7" name="Oval 26"/>
              <p:cNvSpPr/>
              <p:nvPr/>
            </p:nvSpPr>
            <p:spPr>
              <a:xfrm>
                <a:off x="5474864" y="761415"/>
                <a:ext cx="590842" cy="590842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3852093" y="1558545"/>
                <a:ext cx="1069144" cy="1069144"/>
              </a:xfrm>
              <a:prstGeom prst="ellips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4861613" y="658212"/>
                <a:ext cx="759656" cy="759656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5965407" y="2248177"/>
                <a:ext cx="1069146" cy="1069146"/>
              </a:xfrm>
              <a:prstGeom prst="ellips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6" name="Oval 25"/>
              <p:cNvSpPr/>
              <p:nvPr/>
            </p:nvSpPr>
            <p:spPr>
              <a:xfrm>
                <a:off x="5048299" y="3572295"/>
                <a:ext cx="956604" cy="95660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8" name="Oval 27"/>
              <p:cNvSpPr/>
              <p:nvPr/>
            </p:nvSpPr>
            <p:spPr>
              <a:xfrm>
                <a:off x="4958462" y="4721620"/>
                <a:ext cx="1069146" cy="1069146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3" name="Oval 22"/>
              <p:cNvSpPr/>
              <p:nvPr/>
            </p:nvSpPr>
            <p:spPr>
              <a:xfrm>
                <a:off x="6521394" y="1252027"/>
                <a:ext cx="675248" cy="67524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9" name="Oval 18"/>
              <p:cNvSpPr/>
              <p:nvPr/>
            </p:nvSpPr>
            <p:spPr>
              <a:xfrm>
                <a:off x="5778987" y="872125"/>
                <a:ext cx="984740" cy="98474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139700" dist="38100" dir="5400000" algn="t" rotWithShape="0">
                  <a:prstClr val="black">
                    <a:alpha val="7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en-US" sz="240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30" name="Oval 29"/>
            <p:cNvSpPr/>
            <p:nvPr/>
          </p:nvSpPr>
          <p:spPr>
            <a:xfrm>
              <a:off x="10176363" y="1909799"/>
              <a:ext cx="336095" cy="336095"/>
            </a:xfrm>
            <a:prstGeom prst="ellipse">
              <a:avLst/>
            </a:prstGeom>
            <a:noFill/>
            <a:ln>
              <a:solidFill>
                <a:schemeClr val="tx1">
                  <a:lumMod val="65000"/>
                  <a:lumOff val="35000"/>
                  <a:alpha val="52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9822286" y="2999512"/>
              <a:ext cx="273078" cy="273078"/>
            </a:xfrm>
            <a:prstGeom prst="ellipse">
              <a:avLst/>
            </a:prstGeom>
            <a:no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5567315" y="1952961"/>
              <a:ext cx="357101" cy="357101"/>
            </a:xfrm>
            <a:prstGeom prst="ellipse">
              <a:avLst/>
            </a:prstGeom>
            <a:no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7681421" y="2350561"/>
              <a:ext cx="168049" cy="168049"/>
            </a:xfrm>
            <a:prstGeom prst="ellipse">
              <a:avLst/>
            </a:prstGeom>
            <a:no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4" name="Oval 33"/>
            <p:cNvSpPr/>
            <p:nvPr/>
          </p:nvSpPr>
          <p:spPr>
            <a:xfrm>
              <a:off x="6580269" y="639809"/>
              <a:ext cx="483137" cy="483137"/>
            </a:xfrm>
            <a:prstGeom prst="ellipse">
              <a:avLst/>
            </a:prstGeom>
            <a:no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6075699" y="3375745"/>
              <a:ext cx="378108" cy="378108"/>
            </a:xfrm>
            <a:prstGeom prst="ellipse">
              <a:avLst/>
            </a:prstGeom>
            <a:no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9698913" y="854833"/>
              <a:ext cx="252071" cy="252071"/>
            </a:xfrm>
            <a:prstGeom prst="ellipse">
              <a:avLst/>
            </a:prstGeom>
            <a:no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1236830" y="4235761"/>
            <a:ext cx="277672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987"/>
            <a:r>
              <a:rPr lang="en-US" sz="4000" b="1" dirty="0">
                <a:solidFill>
                  <a:prstClr val="white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QUESTIONS</a:t>
            </a:r>
            <a:r>
              <a:rPr lang="en-US" sz="4000" dirty="0">
                <a:solidFill>
                  <a:prstClr val="white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0" name="Oval 39"/>
          <p:cNvSpPr/>
          <p:nvPr/>
        </p:nvSpPr>
        <p:spPr>
          <a:xfrm>
            <a:off x="777910" y="624296"/>
            <a:ext cx="1362260" cy="1362260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  <a:alpha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2980661" y="982205"/>
            <a:ext cx="550190" cy="550190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  <a:alpha val="27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622470" y="5361699"/>
            <a:ext cx="614360" cy="614360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  <a:alpha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5300192" y="4943647"/>
            <a:ext cx="1095624" cy="1095624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  <a:alpha val="3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10166726" y="4313803"/>
            <a:ext cx="1576888" cy="1576888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  <a:alpha val="2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397881" y="2297657"/>
            <a:ext cx="646444" cy="646444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  <a:alpha val="16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1755954" y="2214163"/>
            <a:ext cx="972792" cy="972792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  <a:alpha val="16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10440237" y="196141"/>
            <a:ext cx="1576888" cy="1576888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  <a:alpha val="2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9" name="Oval 48"/>
          <p:cNvSpPr/>
          <p:nvPr/>
        </p:nvSpPr>
        <p:spPr>
          <a:xfrm>
            <a:off x="4424448" y="1399300"/>
            <a:ext cx="1063540" cy="1063540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  <a:alpha val="2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3187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XVvCNHX0hPP2TmELkTJA"/>
</p:tagLst>
</file>

<file path=ppt/theme/theme1.xml><?xml version="1.0" encoding="utf-8"?>
<a:theme xmlns:a="http://schemas.openxmlformats.org/drawingml/2006/main" name="4_Custom Design">
  <a:themeElements>
    <a:clrScheme name="UNAIDS Global">
      <a:dk1>
        <a:sysClr val="windowText" lastClr="000000"/>
      </a:dk1>
      <a:lt1>
        <a:sysClr val="window" lastClr="FFFFFF"/>
      </a:lt1>
      <a:dk2>
        <a:srgbClr val="70C8BE"/>
      </a:dk2>
      <a:lt2>
        <a:srgbClr val="B6AEA7"/>
      </a:lt2>
      <a:accent1>
        <a:srgbClr val="70C8BE"/>
      </a:accent1>
      <a:accent2>
        <a:srgbClr val="F15B40"/>
      </a:accent2>
      <a:accent3>
        <a:srgbClr val="00A99A"/>
      </a:accent3>
      <a:accent4>
        <a:srgbClr val="78BCC1"/>
      </a:accent4>
      <a:accent5>
        <a:srgbClr val="78A7B7"/>
      </a:accent5>
      <a:accent6>
        <a:srgbClr val="CDC884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Custom Design">
  <a:themeElements>
    <a:clrScheme name="UNAIDS Global">
      <a:dk1>
        <a:sysClr val="windowText" lastClr="000000"/>
      </a:dk1>
      <a:lt1>
        <a:sysClr val="window" lastClr="FFFFFF"/>
      </a:lt1>
      <a:dk2>
        <a:srgbClr val="70C8BE"/>
      </a:dk2>
      <a:lt2>
        <a:srgbClr val="B6AEA7"/>
      </a:lt2>
      <a:accent1>
        <a:srgbClr val="70C8BE"/>
      </a:accent1>
      <a:accent2>
        <a:srgbClr val="F15B40"/>
      </a:accent2>
      <a:accent3>
        <a:srgbClr val="00A99A"/>
      </a:accent3>
      <a:accent4>
        <a:srgbClr val="78BCC1"/>
      </a:accent4>
      <a:accent5>
        <a:srgbClr val="78A7B7"/>
      </a:accent5>
      <a:accent6>
        <a:srgbClr val="CDC884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6_Office Theme">
  <a:themeElements>
    <a:clrScheme name="2020 Reflective">
      <a:dk1>
        <a:sysClr val="windowText" lastClr="000000"/>
      </a:dk1>
      <a:lt1>
        <a:srgbClr val="FFFFFF"/>
      </a:lt1>
      <a:dk2>
        <a:srgbClr val="00A99A"/>
      </a:dk2>
      <a:lt2>
        <a:srgbClr val="B8E1DD"/>
      </a:lt2>
      <a:accent1>
        <a:srgbClr val="70C8BE"/>
      </a:accent1>
      <a:accent2>
        <a:srgbClr val="E07E55"/>
      </a:accent2>
      <a:accent3>
        <a:srgbClr val="CDC884"/>
      </a:accent3>
      <a:accent4>
        <a:srgbClr val="B6AEA7"/>
      </a:accent4>
      <a:accent5>
        <a:srgbClr val="63CDF6"/>
      </a:accent5>
      <a:accent6>
        <a:srgbClr val="F26B73"/>
      </a:accent6>
      <a:hlink>
        <a:srgbClr val="0066FF"/>
      </a:hlink>
      <a:folHlink>
        <a:srgbClr val="08BCC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WHO PPT color scheme 2016">
      <a:dk1>
        <a:sysClr val="windowText" lastClr="000000"/>
      </a:dk1>
      <a:lt1>
        <a:sysClr val="window" lastClr="FFFFFF"/>
      </a:lt1>
      <a:dk2>
        <a:srgbClr val="009CDE"/>
      </a:dk2>
      <a:lt2>
        <a:srgbClr val="F3F3F3"/>
      </a:lt2>
      <a:accent1>
        <a:srgbClr val="009CDE"/>
      </a:accent1>
      <a:accent2>
        <a:srgbClr val="183C5C"/>
      </a:accent2>
      <a:accent3>
        <a:srgbClr val="66C4EB"/>
      </a:accent3>
      <a:accent4>
        <a:srgbClr val="9B9B9B"/>
      </a:accent4>
      <a:accent5>
        <a:srgbClr val="CCEBF8"/>
      </a:accent5>
      <a:accent6>
        <a:srgbClr val="C9C9C9"/>
      </a:accent6>
      <a:hlink>
        <a:srgbClr val="009CDE"/>
      </a:hlink>
      <a:folHlink>
        <a:srgbClr val="B2B2B2"/>
      </a:folHlink>
    </a:clrScheme>
    <a:fontScheme name="WHO Fonts PPT 2016">
      <a:majorFont>
        <a:latin typeface="Ebrim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UNAIDS Global">
    <a:dk1>
      <a:sysClr val="windowText" lastClr="000000"/>
    </a:dk1>
    <a:lt1>
      <a:sysClr val="window" lastClr="FFFFFF"/>
    </a:lt1>
    <a:dk2>
      <a:srgbClr val="70C8BE"/>
    </a:dk2>
    <a:lt2>
      <a:srgbClr val="B6AEA7"/>
    </a:lt2>
    <a:accent1>
      <a:srgbClr val="70C8BE"/>
    </a:accent1>
    <a:accent2>
      <a:srgbClr val="F15B40"/>
    </a:accent2>
    <a:accent3>
      <a:srgbClr val="00A99A"/>
    </a:accent3>
    <a:accent4>
      <a:srgbClr val="78BCC1"/>
    </a:accent4>
    <a:accent5>
      <a:srgbClr val="78A7B7"/>
    </a:accent5>
    <a:accent6>
      <a:srgbClr val="CDC884"/>
    </a:accent6>
    <a:hlink>
      <a:srgbClr val="0000FF"/>
    </a:hlink>
    <a:folHlink>
      <a:srgbClr val="800080"/>
    </a:folHlink>
  </a:clrScheme>
</a:themeOverride>
</file>

<file path=docMetadata/LabelInfo.xml><?xml version="1.0" encoding="utf-8"?>
<clbl:labelList xmlns:clbl="http://schemas.microsoft.com/office/2020/mipLabelMetadata">
  <clbl:label id="{c2e1cf9b-e1b6-44eb-8021-428c292d3eb5}" enabled="0" method="" siteId="{c2e1cf9b-e1b6-44eb-8021-428c292d3eb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9982</TotalTime>
  <Words>733</Words>
  <Application>Microsoft Office PowerPoint</Application>
  <PresentationFormat>Widescreen</PresentationFormat>
  <Paragraphs>79</Paragraphs>
  <Slides>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30" baseType="lpstr">
      <vt:lpstr>Aptos</vt:lpstr>
      <vt:lpstr>Aptos Display</vt:lpstr>
      <vt:lpstr>Arial</vt:lpstr>
      <vt:lpstr>Arial Narrow</vt:lpstr>
      <vt:lpstr>Calibri</vt:lpstr>
      <vt:lpstr>Calibri Light</vt:lpstr>
      <vt:lpstr>Courier New</vt:lpstr>
      <vt:lpstr>Ebrima</vt:lpstr>
      <vt:lpstr>Lato Light</vt:lpstr>
      <vt:lpstr>Open Sans</vt:lpstr>
      <vt:lpstr>Symbol</vt:lpstr>
      <vt:lpstr>Times New Roman</vt:lpstr>
      <vt:lpstr>Wingdings</vt:lpstr>
      <vt:lpstr>4_Custom Design</vt:lpstr>
      <vt:lpstr>5_Custom Design</vt:lpstr>
      <vt:lpstr>6_Office Theme</vt:lpstr>
      <vt:lpstr>13_Office Theme</vt:lpstr>
      <vt:lpstr>3_Office Theme</vt:lpstr>
      <vt:lpstr>1_Office Theme</vt:lpstr>
      <vt:lpstr>Office Theme</vt:lpstr>
      <vt:lpstr>think-cell Slide</vt:lpstr>
      <vt:lpstr>PowerPoint Presentation</vt:lpstr>
      <vt:lpstr>PowerPoint Presentation</vt:lpstr>
      <vt:lpstr>PowerPoint Presentation</vt:lpstr>
      <vt:lpstr>About MENHT</vt:lpstr>
      <vt:lpstr>Men are lagging on progress in the 95-95-95 targets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cias ZEMBE</dc:creator>
  <cp:lastModifiedBy>BYARUHANGA, Buyinza Gloria</cp:lastModifiedBy>
  <cp:revision>20</cp:revision>
  <dcterms:created xsi:type="dcterms:W3CDTF">2021-06-21T17:06:27Z</dcterms:created>
  <dcterms:modified xsi:type="dcterms:W3CDTF">2024-08-26T12:30:35Z</dcterms:modified>
</cp:coreProperties>
</file>